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344" r:id="rId2"/>
    <p:sldId id="348" r:id="rId3"/>
    <p:sldId id="397" r:id="rId4"/>
    <p:sldId id="451" r:id="rId5"/>
    <p:sldId id="452" r:id="rId6"/>
    <p:sldId id="403" r:id="rId7"/>
    <p:sldId id="404" r:id="rId8"/>
    <p:sldId id="405" r:id="rId9"/>
    <p:sldId id="406" r:id="rId10"/>
    <p:sldId id="407" r:id="rId11"/>
    <p:sldId id="408" r:id="rId12"/>
    <p:sldId id="415" r:id="rId13"/>
    <p:sldId id="416" r:id="rId14"/>
    <p:sldId id="417" r:id="rId15"/>
    <p:sldId id="418" r:id="rId16"/>
    <p:sldId id="421" r:id="rId17"/>
    <p:sldId id="420" r:id="rId18"/>
    <p:sldId id="422" r:id="rId19"/>
    <p:sldId id="423" r:id="rId20"/>
    <p:sldId id="424" r:id="rId21"/>
    <p:sldId id="453" r:id="rId22"/>
    <p:sldId id="454" r:id="rId23"/>
    <p:sldId id="455" r:id="rId24"/>
    <p:sldId id="456" r:id="rId25"/>
    <p:sldId id="433" r:id="rId26"/>
    <p:sldId id="434" r:id="rId27"/>
    <p:sldId id="458" r:id="rId28"/>
    <p:sldId id="459" r:id="rId29"/>
    <p:sldId id="460" r:id="rId30"/>
    <p:sldId id="461" r:id="rId31"/>
    <p:sldId id="462" r:id="rId32"/>
    <p:sldId id="447" r:id="rId33"/>
    <p:sldId id="457" r:id="rId34"/>
    <p:sldId id="448" r:id="rId35"/>
    <p:sldId id="450" r:id="rId36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VC Pattern" id="{E079857D-7025-4752-92DF-7B78DE4A995C}">
          <p14:sldIdLst>
            <p14:sldId id="344"/>
            <p14:sldId id="348"/>
            <p14:sldId id="397"/>
            <p14:sldId id="451"/>
            <p14:sldId id="452"/>
            <p14:sldId id="403"/>
            <p14:sldId id="404"/>
            <p14:sldId id="405"/>
            <p14:sldId id="406"/>
            <p14:sldId id="407"/>
            <p14:sldId id="408"/>
            <p14:sldId id="415"/>
            <p14:sldId id="416"/>
            <p14:sldId id="417"/>
          </p14:sldIdLst>
        </p14:section>
        <p14:section name="Microkernel" id="{A0881B19-12F5-45D1-A0F9-DAA37C163398}">
          <p14:sldIdLst>
            <p14:sldId id="418"/>
            <p14:sldId id="421"/>
            <p14:sldId id="420"/>
            <p14:sldId id="422"/>
            <p14:sldId id="423"/>
            <p14:sldId id="424"/>
            <p14:sldId id="453"/>
            <p14:sldId id="454"/>
            <p14:sldId id="455"/>
            <p14:sldId id="456"/>
            <p14:sldId id="433"/>
            <p14:sldId id="434"/>
            <p14:sldId id="458"/>
            <p14:sldId id="459"/>
            <p14:sldId id="460"/>
            <p14:sldId id="461"/>
            <p14:sldId id="462"/>
            <p14:sldId id="447"/>
            <p14:sldId id="457"/>
            <p14:sldId id="448"/>
            <p14:sldId id="45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65" autoAdjust="0"/>
    <p:restoredTop sz="93073" autoAdjust="0"/>
  </p:normalViewPr>
  <p:slideViewPr>
    <p:cSldViewPr>
      <p:cViewPr>
        <p:scale>
          <a:sx n="98" d="100"/>
          <a:sy n="98" d="100"/>
        </p:scale>
        <p:origin x="-492" y="-3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3/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916445-7FBA-4D9E-BBE5-5247672A8625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3AC28B-D1F0-458C-A783-284BBAB6D9AD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0FC7E7-110A-4F5B-B5A1-DB0AAF3C9F08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94CBD3-B113-4381-A900-6B69CF9B2B11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8168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DAE5E-E5D7-4F92-A6FD-827F2432D7AE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402CAD-0F0A-4A0D-A7CD-A453F6836D72}" type="datetime1">
              <a:rPr lang="en-US" smtClean="0"/>
              <a:t>3/3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9D03B0-2E71-4D29-8560-53899DBDE39E}" type="datetime1">
              <a:rPr lang="en-US" smtClean="0"/>
              <a:t>3/3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829752-61FD-4B47-808B-738EFCD32BBE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EA4817-8EB1-423C-9DB7-F9F96010538F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55E51D-A577-4FC1-A1A9-F5F3B4E97E5E}" type="datetime1">
              <a:rPr lang="en-US" smtClean="0"/>
              <a:t>3/3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64835F-116A-4AA9-916F-6693E30E1B98}" type="datetime1">
              <a:rPr lang="en-US" smtClean="0"/>
              <a:t>3/3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EED8A5F-8D36-41A7-B59E-1C30ADB3BD16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http://docs.huihoo.com/linux/kernel/a1/index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12: Interactive and Adaptable Systems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March 3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4: Design and Implement Views</a:t>
            </a:r>
            <a:endParaRPr lang="en-IN" altLang="en-US" dirty="0" smtClean="0"/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000" dirty="0"/>
              <a:t>Design the appearance of the View(s) </a:t>
            </a:r>
            <a:endParaRPr lang="en-US" altLang="en-US" sz="2000" dirty="0" smtClean="0"/>
          </a:p>
          <a:p>
            <a:pPr lvl="1" eaLnBrk="1" hangingPunct="1"/>
            <a:r>
              <a:rPr lang="en-US" altLang="en-US" sz="1600" dirty="0" smtClean="0"/>
              <a:t>Presents </a:t>
            </a:r>
            <a:r>
              <a:rPr lang="en-US" altLang="en-US" sz="1600" dirty="0"/>
              <a:t>information to the </a:t>
            </a:r>
            <a:r>
              <a:rPr lang="en-US" altLang="en-US" sz="1600" dirty="0" smtClean="0"/>
              <a:t>user</a:t>
            </a:r>
          </a:p>
          <a:p>
            <a:pPr lvl="1" eaLnBrk="1" hangingPunct="1"/>
            <a:r>
              <a:rPr lang="en-US" altLang="en-US" sz="1600" dirty="0" smtClean="0"/>
              <a:t>Each important data entity should have a view</a:t>
            </a:r>
          </a:p>
          <a:p>
            <a:pPr eaLnBrk="1" hangingPunct="1"/>
            <a:r>
              <a:rPr lang="en-US" altLang="en-US" sz="2000" dirty="0" smtClean="0"/>
              <a:t>Each view may have its own controller (sometimes a set of views can also share a controller)</a:t>
            </a:r>
          </a:p>
          <a:p>
            <a:pPr lvl="1" eaLnBrk="1" hangingPunct="1"/>
            <a:r>
              <a:rPr lang="en-US" altLang="en-US" sz="1600" dirty="0" smtClean="0"/>
              <a:t>Creates a controller using the </a:t>
            </a:r>
            <a:r>
              <a:rPr lang="en-US" altLang="en-US" sz="1600" dirty="0"/>
              <a:t>Factory Method design </a:t>
            </a:r>
            <a:r>
              <a:rPr lang="en-US" altLang="en-US" sz="1600" dirty="0" smtClean="0"/>
              <a:t>pattern (</a:t>
            </a:r>
            <a:r>
              <a:rPr lang="en-US" altLang="en-US" sz="1600" dirty="0" err="1" smtClean="0"/>
              <a:t>makeController</a:t>
            </a:r>
            <a:r>
              <a:rPr lang="en-US" altLang="en-US" sz="1600" dirty="0"/>
              <a:t>() in View </a:t>
            </a:r>
            <a:r>
              <a:rPr lang="en-US" altLang="en-US" sz="1600" dirty="0" smtClean="0"/>
              <a:t>class)</a:t>
            </a:r>
          </a:p>
          <a:p>
            <a:pPr lvl="1" eaLnBrk="1" hangingPunct="1"/>
            <a:r>
              <a:rPr lang="en-US" altLang="en-US" sz="1600" dirty="0" smtClean="0"/>
              <a:t>View exposes a method for controller to use directly bypassing the model (a scenario when model’s state is not changed by the action of a user)</a:t>
            </a:r>
            <a:endParaRPr lang="en-US" altLang="en-US" sz="1600" dirty="0"/>
          </a:p>
          <a:p>
            <a:pPr eaLnBrk="1" hangingPunct="1"/>
            <a:r>
              <a:rPr lang="en-US" altLang="en-US" sz="2000" dirty="0" smtClean="0"/>
              <a:t>Implement update() method </a:t>
            </a:r>
          </a:p>
          <a:p>
            <a:pPr lvl="1" eaLnBrk="1" hangingPunct="1"/>
            <a:r>
              <a:rPr lang="en-US" altLang="en-US" sz="1600" dirty="0" smtClean="0"/>
              <a:t>retrieves </a:t>
            </a:r>
            <a:r>
              <a:rPr lang="en-US" altLang="en-US" sz="1600" dirty="0"/>
              <a:t>data from the model and presents it on the screen</a:t>
            </a:r>
          </a:p>
          <a:p>
            <a:pPr eaLnBrk="1" hangingPunct="1"/>
            <a:r>
              <a:rPr lang="en-US" altLang="en-US" sz="2000" dirty="0" smtClean="0"/>
              <a:t>Initialization</a:t>
            </a:r>
            <a:endParaRPr lang="en-US" altLang="en-US" sz="2000" dirty="0"/>
          </a:p>
          <a:p>
            <a:pPr lvl="1" eaLnBrk="1" hangingPunct="1"/>
            <a:r>
              <a:rPr lang="en-US" altLang="en-US" sz="1800" dirty="0" smtClean="0"/>
              <a:t>Register with model</a:t>
            </a:r>
          </a:p>
          <a:p>
            <a:pPr lvl="1" eaLnBrk="1" hangingPunct="1"/>
            <a:r>
              <a:rPr lang="en-US" altLang="en-US" sz="1800" dirty="0"/>
              <a:t>Set up relationship with the controller</a:t>
            </a:r>
          </a:p>
          <a:p>
            <a:pPr eaLnBrk="1" hangingPunct="1"/>
            <a:r>
              <a:rPr lang="en-US" altLang="en-US" sz="2000" u="sng" dirty="0"/>
              <a:t>Look for efficiency of fetching the data from model to build the </a:t>
            </a:r>
            <a:r>
              <a:rPr lang="en-US" altLang="en-US" sz="2000" u="sng" dirty="0" smtClean="0"/>
              <a:t>view</a:t>
            </a:r>
            <a:endParaRPr lang="en-US" altLang="en-US" sz="2400" u="sng" dirty="0"/>
          </a:p>
          <a:p>
            <a:pPr lvl="1" eaLnBrk="1" hangingPunct="1"/>
            <a:r>
              <a:rPr lang="en-US" altLang="en-US" sz="1800" dirty="0"/>
              <a:t>View to decide based on changes if “Draw” needs to be </a:t>
            </a:r>
            <a:r>
              <a:rPr lang="en-US" altLang="en-US" sz="1800" dirty="0" smtClean="0"/>
              <a:t>called</a:t>
            </a:r>
            <a:endParaRPr lang="en-US" altLang="en-US" sz="18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C0A9D21-CFA5-401B-9648-79A58DA76571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91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795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0" y="279400"/>
            <a:ext cx="9144000" cy="939800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5: Design and Implement Controllers</a:t>
            </a:r>
            <a:endParaRPr lang="en-IN" altLang="en-US" dirty="0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400" dirty="0" smtClean="0"/>
              <a:t>Initialization procedure</a:t>
            </a:r>
          </a:p>
          <a:p>
            <a:pPr lvl="1" eaLnBrk="1" hangingPunct="1"/>
            <a:r>
              <a:rPr lang="en-US" altLang="en-US" sz="2400" dirty="0" smtClean="0"/>
              <a:t>Binds the controller to it’s View and Model and enables event processing</a:t>
            </a:r>
          </a:p>
          <a:p>
            <a:pPr lvl="1" eaLnBrk="1" hangingPunct="1"/>
            <a:r>
              <a:rPr lang="en-US" altLang="en-US" sz="2400" dirty="0" smtClean="0"/>
              <a:t>Subscribes to the change-propagation mechanism</a:t>
            </a:r>
          </a:p>
          <a:p>
            <a:pPr lvl="1" eaLnBrk="1" hangingPunct="1"/>
            <a:r>
              <a:rPr lang="en-US" altLang="en-US" sz="2400" dirty="0" smtClean="0"/>
              <a:t>Set up relationship with the View</a:t>
            </a:r>
          </a:p>
          <a:p>
            <a:pPr eaLnBrk="1" hangingPunct="1"/>
            <a:r>
              <a:rPr lang="en-US" altLang="en-US" sz="2400" dirty="0" smtClean="0"/>
              <a:t>Implement event processing</a:t>
            </a:r>
          </a:p>
          <a:p>
            <a:pPr lvl="1" eaLnBrk="1" hangingPunct="1"/>
            <a:r>
              <a:rPr lang="en-US" altLang="en-US" sz="2000" dirty="0" smtClean="0"/>
              <a:t>a</a:t>
            </a:r>
            <a:r>
              <a:rPr lang="en-US" altLang="en-US" sz="1800" dirty="0" smtClean="0"/>
              <a:t>ccept </a:t>
            </a:r>
            <a:r>
              <a:rPr lang="en-US" altLang="en-US" sz="1800" dirty="0"/>
              <a:t>user input as </a:t>
            </a:r>
            <a:r>
              <a:rPr lang="en-US" altLang="en-US" sz="1800" dirty="0" smtClean="0"/>
              <a:t>events;  events </a:t>
            </a:r>
            <a:r>
              <a:rPr lang="en-US" altLang="en-US" sz="1800" dirty="0"/>
              <a:t>delivery to the controller is platform dependent</a:t>
            </a:r>
          </a:p>
          <a:p>
            <a:pPr lvl="1" eaLnBrk="1" hangingPunct="1"/>
            <a:r>
              <a:rPr lang="en-US" altLang="en-US" sz="1600" dirty="0"/>
              <a:t>Event translated into requests for the model or the associated view</a:t>
            </a:r>
          </a:p>
          <a:p>
            <a:pPr eaLnBrk="1" hangingPunct="1"/>
            <a:r>
              <a:rPr lang="en-US" altLang="en-US" sz="2000" dirty="0"/>
              <a:t>Controller </a:t>
            </a:r>
            <a:r>
              <a:rPr lang="en-US" altLang="en-US" sz="2000" dirty="0" smtClean="0"/>
              <a:t>behavior </a:t>
            </a:r>
            <a:r>
              <a:rPr lang="en-US" altLang="en-US" sz="2000" dirty="0"/>
              <a:t>dependent on state of model</a:t>
            </a:r>
          </a:p>
          <a:p>
            <a:pPr lvl="1" eaLnBrk="1" hangingPunct="1"/>
            <a:r>
              <a:rPr lang="en-US" altLang="en-US" sz="1800" dirty="0"/>
              <a:t>Registers for change propagation</a:t>
            </a:r>
          </a:p>
          <a:p>
            <a:pPr lvl="1" eaLnBrk="1" hangingPunct="1"/>
            <a:r>
              <a:rPr lang="en-US" altLang="en-US" sz="1800" dirty="0"/>
              <a:t>Implements </a:t>
            </a:r>
            <a:r>
              <a:rPr lang="en-US" altLang="en-US" sz="1800" dirty="0" smtClean="0"/>
              <a:t>its update() procedure</a:t>
            </a:r>
            <a:endParaRPr lang="en-US" altLang="en-US" dirty="0" smtClean="0"/>
          </a:p>
          <a:p>
            <a:pPr eaLnBrk="1" hangingPunct="1"/>
            <a:endParaRPr lang="en-US" altLang="en-US" sz="24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11FF1EC-1901-40FA-9963-2FE4295368A1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914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19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4800" dirty="0" smtClean="0"/>
              <a:t>Variants</a:t>
            </a:r>
            <a:endParaRPr lang="en-IN" altLang="en-US" sz="4800" dirty="0" smtClean="0"/>
          </a:p>
        </p:txBody>
      </p:sp>
      <p:sp>
        <p:nvSpPr>
          <p:cNvPr id="4198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Document View</a:t>
            </a:r>
          </a:p>
          <a:p>
            <a:pPr lvl="1" eaLnBrk="1" hangingPunct="1"/>
            <a:r>
              <a:rPr lang="en-US" altLang="en-US" dirty="0" smtClean="0"/>
              <a:t>Document = Model</a:t>
            </a:r>
          </a:p>
          <a:p>
            <a:pPr lvl="1" eaLnBrk="1" hangingPunct="1"/>
            <a:r>
              <a:rPr lang="en-US" altLang="en-US" dirty="0" smtClean="0"/>
              <a:t>View = View Controller</a:t>
            </a:r>
          </a:p>
          <a:p>
            <a:pPr eaLnBrk="1" hangingPunct="1"/>
            <a:r>
              <a:rPr lang="en-US" altLang="en-US" dirty="0" smtClean="0"/>
              <a:t>Loose coupling of View and Controller enables multiple simultaneous and synchronized but different views of the same documen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4EF243-978F-45BB-8A1A-3E3F4C4CA171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938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smtClean="0"/>
              <a:t>Benefits</a:t>
            </a:r>
            <a:endParaRPr lang="en-IN" altLang="en-US" sz="3200" smtClean="0"/>
          </a:p>
        </p:txBody>
      </p:sp>
      <p:sp>
        <p:nvSpPr>
          <p:cNvPr id="4301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Multiple views of the same model</a:t>
            </a:r>
          </a:p>
          <a:p>
            <a:pPr eaLnBrk="1" hangingPunct="1"/>
            <a:r>
              <a:rPr lang="en-US" altLang="en-US" dirty="0" smtClean="0"/>
              <a:t>Synchronized views</a:t>
            </a:r>
          </a:p>
          <a:p>
            <a:pPr eaLnBrk="1" hangingPunct="1"/>
            <a:r>
              <a:rPr lang="en-US" altLang="en-US" dirty="0" smtClean="0"/>
              <a:t>‘Pluggable’ views and controllers</a:t>
            </a:r>
          </a:p>
          <a:p>
            <a:pPr eaLnBrk="1" hangingPunct="1"/>
            <a:r>
              <a:rPr lang="en-US" altLang="en-US" dirty="0" smtClean="0"/>
              <a:t>Exchangeability of ‘look-and-feel’</a:t>
            </a:r>
          </a:p>
          <a:p>
            <a:pPr eaLnBrk="1" hangingPunct="1"/>
            <a:r>
              <a:rPr lang="en-US" altLang="en-US" dirty="0" smtClean="0"/>
              <a:t>Framework potential</a:t>
            </a:r>
          </a:p>
          <a:p>
            <a:pPr eaLnBrk="1" hangingPunct="1"/>
            <a:endParaRPr lang="en-US" alt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F4A587C-6152-401A-9954-ED79DE2AEF8F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999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011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smtClean="0"/>
              <a:t>Liabilities</a:t>
            </a:r>
            <a:endParaRPr lang="en-IN" altLang="en-US" sz="3200" smtClean="0"/>
          </a:p>
        </p:txBody>
      </p:sp>
      <p:sp>
        <p:nvSpPr>
          <p:cNvPr id="4403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 smtClean="0"/>
              <a:t>Increased complexity</a:t>
            </a:r>
          </a:p>
          <a:p>
            <a:pPr eaLnBrk="1" hangingPunct="1"/>
            <a:r>
              <a:rPr lang="en-US" altLang="en-US" sz="2800" dirty="0" smtClean="0"/>
              <a:t>Potential for excessive number of updates</a:t>
            </a:r>
          </a:p>
          <a:p>
            <a:pPr eaLnBrk="1" hangingPunct="1"/>
            <a:r>
              <a:rPr lang="en-US" altLang="en-US" sz="2800" dirty="0" smtClean="0"/>
              <a:t>Intimation connection between view and controller</a:t>
            </a:r>
          </a:p>
          <a:p>
            <a:pPr eaLnBrk="1" hangingPunct="1"/>
            <a:r>
              <a:rPr lang="en-US" altLang="en-US" sz="2800" dirty="0" smtClean="0"/>
              <a:t>Close coupling of views and controllers to a model</a:t>
            </a:r>
          </a:p>
          <a:p>
            <a:pPr eaLnBrk="1" hangingPunct="1"/>
            <a:r>
              <a:rPr lang="en-US" altLang="en-US" sz="2800" dirty="0" smtClean="0"/>
              <a:t>Inefficiency of data access in view</a:t>
            </a:r>
          </a:p>
          <a:p>
            <a:pPr eaLnBrk="1" hangingPunct="1"/>
            <a:r>
              <a:rPr lang="en-US" altLang="en-US" sz="2800" dirty="0" smtClean="0"/>
              <a:t>Difficulty of using MVC with modern user-interface tool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F8F0A8F-043C-43E0-9B13-6E364B6CC5A2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403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035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microkernel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Adaptable Systems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3629D7D-510C-44A2-8B53-8C9FD9C19DD1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976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icrokernel – 3 part schema</a:t>
            </a:r>
            <a:endParaRPr lang="en-IN" smtClean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000" dirty="0" smtClean="0"/>
              <a:t>Context</a:t>
            </a:r>
          </a:p>
          <a:p>
            <a:pPr lvl="1"/>
            <a:r>
              <a:rPr lang="en-US" sz="1800" dirty="0"/>
              <a:t>The development of several applications that use similar programming interfaces that build on the same core functionality</a:t>
            </a:r>
            <a:endParaRPr lang="en-US" sz="1800" dirty="0" smtClean="0"/>
          </a:p>
          <a:p>
            <a:endParaRPr lang="en-US" sz="2000" dirty="0" smtClean="0"/>
          </a:p>
          <a:p>
            <a:r>
              <a:rPr lang="en-US" sz="2000" dirty="0" smtClean="0"/>
              <a:t>Problem</a:t>
            </a:r>
          </a:p>
          <a:p>
            <a:pPr lvl="1"/>
            <a:r>
              <a:rPr lang="en-US" sz="1800" dirty="0"/>
              <a:t>Developing software for an application domain that needs to cope with a broad spectrum of similar standards and technologies</a:t>
            </a:r>
          </a:p>
          <a:p>
            <a:pPr lvl="1"/>
            <a:r>
              <a:rPr lang="en-US" sz="1800" dirty="0"/>
              <a:t>Continuous evolution (software and hardware), platform must be extensible, portable and adaptable</a:t>
            </a:r>
            <a:endParaRPr lang="en-US" sz="1800" dirty="0" smtClean="0"/>
          </a:p>
          <a:p>
            <a:endParaRPr lang="en-US" sz="2000" dirty="0" smtClean="0"/>
          </a:p>
          <a:p>
            <a:r>
              <a:rPr lang="en-US" sz="2000" dirty="0" smtClean="0"/>
              <a:t>Solution- Microkernel</a:t>
            </a:r>
          </a:p>
          <a:p>
            <a:pPr lvl="1"/>
            <a:r>
              <a:rPr lang="en-US" sz="1800" dirty="0"/>
              <a:t>Encapsulate the fundamental services of your application platform in a microkernel component</a:t>
            </a:r>
          </a:p>
          <a:p>
            <a:pPr lvl="1"/>
            <a:r>
              <a:rPr lang="en-US" sz="1800" dirty="0" smtClean="0"/>
              <a:t>Includes </a:t>
            </a:r>
            <a:r>
              <a:rPr lang="en-US" sz="1800" dirty="0"/>
              <a:t>functionality that enables other components running in separate processes to communicate to each other; maintain system </a:t>
            </a:r>
            <a:r>
              <a:rPr lang="en-US" sz="1800" dirty="0" smtClean="0"/>
              <a:t>resources</a:t>
            </a:r>
            <a:endParaRPr lang="en-US" sz="1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75E866-BD18-48EE-9D60-9386C01F2ECA}" type="datetime1">
              <a:rPr lang="en-US" smtClean="0"/>
              <a:t>3/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826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icrokernel</a:t>
            </a:r>
            <a:endParaRPr lang="en-IN" smtClean="0"/>
          </a:p>
        </p:txBody>
      </p:sp>
      <p:sp>
        <p:nvSpPr>
          <p:cNvPr id="2662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Applies to systems that must be able to adapt to changing system requirements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Separates minimal functional core from extended functionality and customer specific parts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Serves as a socket for plugging extensions and coordinating their collaboration</a:t>
            </a:r>
            <a:endParaRPr lang="en-IN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339D253-242E-4D55-97C9-B960666EB2C7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39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8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icrokernel</a:t>
            </a:r>
            <a:endParaRPr lang="en-IN" smtClean="0"/>
          </a:p>
        </p:txBody>
      </p:sp>
      <p:sp>
        <p:nvSpPr>
          <p:cNvPr id="32" name="Rounded Rectangle 31"/>
          <p:cNvSpPr/>
          <p:nvPr/>
        </p:nvSpPr>
        <p:spPr>
          <a:xfrm>
            <a:off x="235390" y="1527750"/>
            <a:ext cx="1214437" cy="785813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Client</a:t>
            </a:r>
            <a:endParaRPr lang="en-IN" dirty="0"/>
          </a:p>
        </p:txBody>
      </p:sp>
      <p:grpSp>
        <p:nvGrpSpPr>
          <p:cNvPr id="2" name="Group 1"/>
          <p:cNvGrpSpPr/>
          <p:nvPr/>
        </p:nvGrpSpPr>
        <p:grpSpPr>
          <a:xfrm>
            <a:off x="1384300" y="1447800"/>
            <a:ext cx="6259534" cy="4950038"/>
            <a:chOff x="1384300" y="785794"/>
            <a:chExt cx="6259534" cy="5929354"/>
          </a:xfrm>
        </p:grpSpPr>
        <p:sp>
          <p:nvSpPr>
            <p:cNvPr id="30" name="Oval 29"/>
            <p:cNvSpPr/>
            <p:nvPr/>
          </p:nvSpPr>
          <p:spPr>
            <a:xfrm>
              <a:off x="1428728" y="785794"/>
              <a:ext cx="6215106" cy="5929354"/>
            </a:xfrm>
            <a:prstGeom prst="ellips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/>
            </a:p>
          </p:txBody>
        </p:sp>
        <p:sp>
          <p:nvSpPr>
            <p:cNvPr id="25" name="Oval 24"/>
            <p:cNvSpPr/>
            <p:nvPr/>
          </p:nvSpPr>
          <p:spPr>
            <a:xfrm>
              <a:off x="1928794" y="1214422"/>
              <a:ext cx="5214974" cy="5143536"/>
            </a:xfrm>
            <a:prstGeom prst="ellipse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/>
            <a:lstStyle/>
            <a:p>
              <a:pPr algn="ctr">
                <a:defRPr/>
              </a:pPr>
              <a:endParaRPr lang="en-IN" dirty="0"/>
            </a:p>
          </p:txBody>
        </p:sp>
        <p:sp>
          <p:nvSpPr>
            <p:cNvPr id="24" name="Oval 23"/>
            <p:cNvSpPr/>
            <p:nvPr/>
          </p:nvSpPr>
          <p:spPr>
            <a:xfrm>
              <a:off x="2643174" y="1928802"/>
              <a:ext cx="3714776" cy="3643338"/>
            </a:xfrm>
            <a:prstGeom prst="ellipse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algn="ctr">
                <a:defRPr/>
              </a:pPr>
              <a:endParaRPr lang="en-IN" dirty="0"/>
            </a:p>
          </p:txBody>
        </p:sp>
        <p:sp>
          <p:nvSpPr>
            <p:cNvPr id="23" name="Oval 22"/>
            <p:cNvSpPr/>
            <p:nvPr/>
          </p:nvSpPr>
          <p:spPr>
            <a:xfrm>
              <a:off x="3500430" y="2786058"/>
              <a:ext cx="1928826" cy="1857388"/>
            </a:xfrm>
            <a:prstGeom prst="ellipse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571868" y="1500174"/>
              <a:ext cx="2005677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External Servers</a:t>
              </a:r>
              <a:endParaRPr lang="en-IN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571961" y="2285992"/>
              <a:ext cx="1928733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Internal Servers</a:t>
              </a:r>
              <a:endParaRPr lang="en-IN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766204" y="3500438"/>
              <a:ext cx="1479892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Microkernel</a:t>
              </a:r>
              <a:endParaRPr lang="en-IN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000496" y="857232"/>
              <a:ext cx="1056700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Adapter</a:t>
              </a:r>
              <a:endParaRPr lang="en-IN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33" name="Up-Down Arrow 32"/>
            <p:cNvSpPr/>
            <p:nvPr/>
          </p:nvSpPr>
          <p:spPr>
            <a:xfrm rot="18458203">
              <a:off x="1598613" y="1274762"/>
              <a:ext cx="357188" cy="785813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93C81FA-798C-4398-9733-1F5086E668B1}" type="datetime1">
              <a:rPr lang="en-US" smtClean="0"/>
              <a:t>3/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63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Participating Components</a:t>
            </a:r>
            <a:endParaRPr lang="en-IN" smtClean="0"/>
          </a:p>
        </p:txBody>
      </p:sp>
      <p:sp>
        <p:nvSpPr>
          <p:cNvPr id="2969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z="5400" smtClean="0"/>
              <a:t>Internal Servers</a:t>
            </a:r>
          </a:p>
          <a:p>
            <a:pPr eaLnBrk="1" hangingPunct="1"/>
            <a:r>
              <a:rPr lang="en-US" sz="5400" smtClean="0"/>
              <a:t>External Servers</a:t>
            </a:r>
          </a:p>
          <a:p>
            <a:pPr eaLnBrk="1" hangingPunct="1"/>
            <a:r>
              <a:rPr lang="en-US" sz="5400" smtClean="0"/>
              <a:t>Adapters</a:t>
            </a:r>
          </a:p>
          <a:p>
            <a:pPr eaLnBrk="1" hangingPunct="1"/>
            <a:r>
              <a:rPr lang="en-US" sz="5400" smtClean="0"/>
              <a:t>Clients</a:t>
            </a:r>
          </a:p>
          <a:p>
            <a:pPr eaLnBrk="1" hangingPunct="1"/>
            <a:r>
              <a:rPr lang="en-US" sz="5400" smtClean="0"/>
              <a:t>Microkernel</a:t>
            </a:r>
            <a:endParaRPr lang="en-IN" sz="540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73398C-80E2-4A86-A521-55B163F8909B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33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Model View Controller Pattern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sz="5400" dirty="0" smtClean="0"/>
              <a:t>Interactive Systems</a:t>
            </a:r>
            <a:endParaRPr lang="en-IN" sz="5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3B7AEF6-2907-49AA-9167-BD5DCAD59BB9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328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icrokernel</a:t>
            </a:r>
            <a:endParaRPr lang="en-IN" smtClean="0"/>
          </a:p>
        </p:txBody>
      </p:sp>
      <p:pic>
        <p:nvPicPr>
          <p:cNvPr id="23554" name="Picture 2" descr="E:\workspace\microkernel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1" t="24011" r="27217" b="26800"/>
          <a:stretch/>
        </p:blipFill>
        <p:spPr bwMode="auto">
          <a:xfrm>
            <a:off x="1752600" y="3048000"/>
            <a:ext cx="5635256" cy="3434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457200" y="1295399"/>
            <a:ext cx="8382000" cy="1752601"/>
          </a:xfrm>
        </p:spPr>
        <p:txBody>
          <a:bodyPr/>
          <a:lstStyle/>
          <a:p>
            <a:pPr eaLnBrk="1" hangingPunct="1"/>
            <a:r>
              <a:rPr lang="en-US" sz="1600" dirty="0" smtClean="0"/>
              <a:t>Main component of the pattern, which is optimized for memory</a:t>
            </a:r>
          </a:p>
          <a:p>
            <a:pPr eaLnBrk="1" hangingPunct="1"/>
            <a:r>
              <a:rPr lang="en-US" sz="1600" dirty="0" smtClean="0"/>
              <a:t>Provides core mechanisms</a:t>
            </a:r>
          </a:p>
          <a:p>
            <a:pPr eaLnBrk="1" hangingPunct="1"/>
            <a:r>
              <a:rPr lang="en-US" sz="1600" dirty="0" smtClean="0"/>
              <a:t>Encapsulates system specific dependencies : Hardware dependent parts</a:t>
            </a:r>
            <a:endParaRPr lang="en-US" sz="1400" dirty="0" smtClean="0"/>
          </a:p>
          <a:p>
            <a:pPr eaLnBrk="1" hangingPunct="1"/>
            <a:r>
              <a:rPr lang="en-US" sz="1600" dirty="0" smtClean="0"/>
              <a:t>Maintain system resources such as Processes, Files</a:t>
            </a:r>
            <a:endParaRPr lang="en-US" sz="1400" dirty="0" smtClean="0"/>
          </a:p>
          <a:p>
            <a:pPr eaLnBrk="1" hangingPunct="1"/>
            <a:r>
              <a:rPr lang="en-US" sz="1600" dirty="0" smtClean="0"/>
              <a:t>Provides a set of atomic services- known as mechanisms</a:t>
            </a:r>
          </a:p>
          <a:p>
            <a:pPr lvl="1" eaLnBrk="1" hangingPunct="1"/>
            <a:r>
              <a:rPr lang="en-US" sz="1200" dirty="0" smtClean="0"/>
              <a:t>More complex functionality can be built by composing these atomic servic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8D761FB-973F-41CA-B025-1A1B8DA66E3F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425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ternal Server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sz="2200" dirty="0"/>
              <a:t>Also known as subsystem</a:t>
            </a:r>
          </a:p>
          <a:p>
            <a:pPr eaLnBrk="1" hangingPunct="1"/>
            <a:r>
              <a:rPr lang="en-US" sz="2200" dirty="0"/>
              <a:t>Extends functionality provided by Microkernel</a:t>
            </a:r>
          </a:p>
          <a:p>
            <a:pPr eaLnBrk="1" hangingPunct="1"/>
            <a:r>
              <a:rPr lang="en-US" sz="2200" dirty="0"/>
              <a:t>Microkernel invokes services based on client requests</a:t>
            </a:r>
          </a:p>
          <a:p>
            <a:pPr lvl="1" eaLnBrk="1" hangingPunct="1"/>
            <a:r>
              <a:rPr lang="en-US" sz="1400" dirty="0" smtClean="0"/>
              <a:t>Example: Device </a:t>
            </a:r>
            <a:r>
              <a:rPr lang="en-US" sz="1400" dirty="0"/>
              <a:t>drivers</a:t>
            </a:r>
          </a:p>
          <a:p>
            <a:pPr eaLnBrk="1" hangingPunct="1"/>
            <a:r>
              <a:rPr lang="en-US" sz="2200" dirty="0"/>
              <a:t>Consider as extensions which are accessible to microkernel only</a:t>
            </a:r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4495800" y="1231900"/>
            <a:ext cx="4419599" cy="639762"/>
          </a:xfrm>
        </p:spPr>
        <p:txBody>
          <a:bodyPr/>
          <a:lstStyle/>
          <a:p>
            <a:r>
              <a:rPr lang="en-US" dirty="0" smtClean="0"/>
              <a:t>External Server (aka Personality)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117975" cy="4419600"/>
          </a:xfrm>
        </p:spPr>
        <p:txBody>
          <a:bodyPr/>
          <a:lstStyle/>
          <a:p>
            <a:pPr eaLnBrk="1" hangingPunct="1"/>
            <a:r>
              <a:rPr lang="en-US" sz="2000" dirty="0" smtClean="0"/>
              <a:t>Implements </a:t>
            </a:r>
            <a:r>
              <a:rPr lang="en-US" sz="2000" dirty="0"/>
              <a:t>it’s own ‘view’ of the underlying </a:t>
            </a:r>
            <a:r>
              <a:rPr lang="en-US" sz="2000" dirty="0" smtClean="0"/>
              <a:t>microkernel</a:t>
            </a:r>
          </a:p>
          <a:p>
            <a:pPr lvl="1" eaLnBrk="1" hangingPunct="1"/>
            <a:r>
              <a:rPr lang="en-US" sz="1600" dirty="0" smtClean="0"/>
              <a:t>E.g. OS/2 flavor on top of microkernel </a:t>
            </a:r>
          </a:p>
          <a:p>
            <a:pPr lvl="1" eaLnBrk="1" hangingPunct="1"/>
            <a:r>
              <a:rPr lang="en-US" sz="1600" dirty="0" err="1" smtClean="0"/>
              <a:t>MacOS</a:t>
            </a:r>
            <a:r>
              <a:rPr lang="en-US" sz="1600" dirty="0" smtClean="0"/>
              <a:t> on top of microkernel</a:t>
            </a:r>
            <a:endParaRPr lang="en-US" sz="1600" dirty="0"/>
          </a:p>
          <a:p>
            <a:pPr eaLnBrk="1" hangingPunct="1"/>
            <a:r>
              <a:rPr lang="en-US" sz="2000" dirty="0"/>
              <a:t>Different servers implement different policies for specific application domains</a:t>
            </a:r>
          </a:p>
          <a:p>
            <a:pPr eaLnBrk="1" hangingPunct="1"/>
            <a:r>
              <a:rPr lang="en-US" sz="2000" dirty="0" smtClean="0"/>
              <a:t>Perform:</a:t>
            </a:r>
          </a:p>
          <a:p>
            <a:pPr lvl="1" eaLnBrk="1" hangingPunct="1"/>
            <a:r>
              <a:rPr lang="en-US" sz="1600" dirty="0" smtClean="0"/>
              <a:t>Receives </a:t>
            </a:r>
            <a:r>
              <a:rPr lang="en-US" sz="1600" dirty="0"/>
              <a:t>service requests from client applications using the </a:t>
            </a:r>
            <a:r>
              <a:rPr lang="en-US" sz="1600" dirty="0" smtClean="0"/>
              <a:t>communication </a:t>
            </a:r>
            <a:r>
              <a:rPr lang="en-US" sz="1600" dirty="0"/>
              <a:t>facilities provided by the </a:t>
            </a:r>
            <a:r>
              <a:rPr lang="en-US" sz="1600" dirty="0" smtClean="0"/>
              <a:t>microkernel </a:t>
            </a:r>
          </a:p>
          <a:p>
            <a:pPr lvl="1" eaLnBrk="1" hangingPunct="1"/>
            <a:r>
              <a:rPr lang="en-US" sz="1600" dirty="0" smtClean="0"/>
              <a:t>interprets </a:t>
            </a:r>
            <a:r>
              <a:rPr lang="en-US" sz="1600" dirty="0"/>
              <a:t>these </a:t>
            </a:r>
            <a:r>
              <a:rPr lang="en-US" sz="1600" dirty="0" smtClean="0"/>
              <a:t>requests </a:t>
            </a:r>
          </a:p>
          <a:p>
            <a:pPr lvl="1" eaLnBrk="1" hangingPunct="1"/>
            <a:r>
              <a:rPr lang="en-US" sz="1600" dirty="0" smtClean="0"/>
              <a:t>executes </a:t>
            </a:r>
            <a:r>
              <a:rPr lang="en-US" sz="1600" dirty="0"/>
              <a:t>the appropriate </a:t>
            </a:r>
            <a:r>
              <a:rPr lang="en-US" sz="1600" dirty="0" smtClean="0"/>
              <a:t>services</a:t>
            </a:r>
          </a:p>
          <a:p>
            <a:pPr lvl="1" eaLnBrk="1" hangingPunct="1"/>
            <a:r>
              <a:rPr lang="en-US" sz="1600" dirty="0" smtClean="0"/>
              <a:t>returns </a:t>
            </a:r>
            <a:r>
              <a:rPr lang="en-US" sz="1600" dirty="0"/>
              <a:t>results to the clients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CA9BA49-7154-4587-B2E0-B768D630616C}" type="datetime1">
              <a:rPr lang="en-US" smtClean="0"/>
              <a:t>3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ver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322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 build="p"/>
      <p:bldP spid="9" grpId="0" build="p"/>
      <p:bldP spid="10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i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Represents an application</a:t>
            </a:r>
          </a:p>
          <a:p>
            <a:pPr eaLnBrk="1" hangingPunct="1"/>
            <a:r>
              <a:rPr lang="en-US" dirty="0" smtClean="0"/>
              <a:t>Associated </a:t>
            </a:r>
            <a:r>
              <a:rPr lang="en-US" dirty="0"/>
              <a:t>with exactly one external </a:t>
            </a:r>
            <a:r>
              <a:rPr lang="en-US" dirty="0" smtClean="0"/>
              <a:t>server</a:t>
            </a:r>
          </a:p>
          <a:p>
            <a:pPr lvl="1" eaLnBrk="1" hangingPunct="1"/>
            <a:r>
              <a:rPr lang="en-US" dirty="0" smtClean="0"/>
              <a:t>No direct communication, through Adapter only</a:t>
            </a:r>
            <a:endParaRPr lang="en-US" dirty="0"/>
          </a:p>
          <a:p>
            <a:pPr eaLnBrk="1" hangingPunct="1"/>
            <a:r>
              <a:rPr lang="en-US" dirty="0"/>
              <a:t>Accesses </a:t>
            </a:r>
            <a:r>
              <a:rPr lang="en-US" dirty="0" smtClean="0"/>
              <a:t>the services provided </a:t>
            </a:r>
            <a:r>
              <a:rPr lang="en-US" dirty="0"/>
              <a:t>by the external </a:t>
            </a:r>
            <a:r>
              <a:rPr lang="en-US" dirty="0" smtClean="0"/>
              <a:t>server</a:t>
            </a:r>
          </a:p>
          <a:p>
            <a:pPr lvl="1" eaLnBrk="1" hangingPunct="1"/>
            <a:r>
              <a:rPr lang="en-US" dirty="0" smtClean="0"/>
              <a:t>thru </a:t>
            </a:r>
            <a:r>
              <a:rPr lang="en-US" dirty="0"/>
              <a:t>adapter as a service </a:t>
            </a:r>
            <a:r>
              <a:rPr lang="en-US" dirty="0" smtClean="0"/>
              <a:t>request</a:t>
            </a:r>
            <a:endParaRPr lang="en-US" dirty="0"/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Adapter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Protect the client from implementation details of the microkernel</a:t>
            </a:r>
          </a:p>
          <a:p>
            <a:pPr lvl="1" eaLnBrk="1" hangingPunct="1"/>
            <a:r>
              <a:rPr lang="en-US" dirty="0"/>
              <a:t>Uses communication mechanism provided by the microkernel</a:t>
            </a:r>
          </a:p>
          <a:p>
            <a:pPr eaLnBrk="1" hangingPunct="1"/>
            <a:r>
              <a:rPr lang="en-US" dirty="0"/>
              <a:t>Service requests from client </a:t>
            </a:r>
          </a:p>
          <a:p>
            <a:pPr lvl="1" eaLnBrk="1" hangingPunct="1"/>
            <a:r>
              <a:rPr lang="en-US" dirty="0"/>
              <a:t>forwards the call to the appropriate server</a:t>
            </a:r>
          </a:p>
          <a:p>
            <a:pPr lvl="1" eaLnBrk="1" hangingPunct="1"/>
            <a:r>
              <a:rPr lang="en-US" dirty="0"/>
              <a:t>Invokes methods of external servers on behalf of </a:t>
            </a:r>
            <a:r>
              <a:rPr lang="en-US" dirty="0" smtClean="0"/>
              <a:t>clients</a:t>
            </a:r>
            <a:endParaRPr lang="en-IN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A1CE4C7-0808-4E94-9354-237221E9AAF6}" type="datetime1">
              <a:rPr lang="en-US" smtClean="0"/>
              <a:t>3/3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ent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681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E:\workspace\microkernel-seq1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92" b="7251"/>
          <a:stretch/>
        </p:blipFill>
        <p:spPr bwMode="auto">
          <a:xfrm>
            <a:off x="1130899" y="1285876"/>
            <a:ext cx="5778795" cy="5168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64099" y="6494153"/>
            <a:ext cx="2133600" cy="365125"/>
          </a:xfrm>
        </p:spPr>
        <p:txBody>
          <a:bodyPr/>
          <a:lstStyle/>
          <a:p>
            <a:pPr>
              <a:defRPr/>
            </a:pPr>
            <a:fld id="{F110291C-4332-46C5-B2F7-135D99AB3451}" type="datetime1">
              <a:rPr lang="en-US" smtClean="0"/>
              <a:t>3/3/2015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ent Request</a:t>
            </a:r>
            <a:endParaRPr lang="en-US" dirty="0"/>
          </a:p>
        </p:txBody>
      </p:sp>
      <p:sp>
        <p:nvSpPr>
          <p:cNvPr id="11" name="Freeform 10"/>
          <p:cNvSpPr/>
          <p:nvPr/>
        </p:nvSpPr>
        <p:spPr>
          <a:xfrm>
            <a:off x="3402419" y="2028475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/>
          <p:cNvSpPr/>
          <p:nvPr/>
        </p:nvSpPr>
        <p:spPr>
          <a:xfrm>
            <a:off x="4832499" y="2794596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/>
          <p:cNvSpPr/>
          <p:nvPr/>
        </p:nvSpPr>
        <p:spPr>
          <a:xfrm>
            <a:off x="4832499" y="3276600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6290932" y="4242396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6290932" y="5198749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733800" y="1905000"/>
            <a:ext cx="11945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createRequest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18" name="TextBox 17"/>
          <p:cNvSpPr txBox="1"/>
          <p:nvPr/>
        </p:nvSpPr>
        <p:spPr>
          <a:xfrm>
            <a:off x="6328147" y="3980786"/>
            <a:ext cx="13292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dispatchRequest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19" name="TextBox 18"/>
          <p:cNvSpPr txBox="1"/>
          <p:nvPr/>
        </p:nvSpPr>
        <p:spPr>
          <a:xfrm>
            <a:off x="6328147" y="4930056"/>
            <a:ext cx="12426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executeService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5149701" y="2635101"/>
            <a:ext cx="106311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findReceiver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17" name="TextBox 16"/>
          <p:cNvSpPr txBox="1"/>
          <p:nvPr/>
        </p:nvSpPr>
        <p:spPr>
          <a:xfrm>
            <a:off x="3488741" y="3383195"/>
            <a:ext cx="115946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Determines the address of the external server</a:t>
            </a:r>
            <a:endParaRPr lang="en-US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3426660" y="4135759"/>
            <a:ext cx="13377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Possibly an RPC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384736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691FC8F-CA1C-4817-8BBE-901C971876FC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rnal Server Request</a:t>
            </a:r>
          </a:p>
        </p:txBody>
      </p:sp>
      <p:pic>
        <p:nvPicPr>
          <p:cNvPr id="24578" name="Picture 2" descr="E:\workspace\microkernel-seq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238" y="1413281"/>
            <a:ext cx="4762500" cy="408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5"/>
          <p:cNvSpPr/>
          <p:nvPr/>
        </p:nvSpPr>
        <p:spPr>
          <a:xfrm>
            <a:off x="3352800" y="2150749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684181" y="2027274"/>
            <a:ext cx="13756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callInternalServer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8" name="Freeform 7"/>
          <p:cNvSpPr/>
          <p:nvPr/>
        </p:nvSpPr>
        <p:spPr>
          <a:xfrm>
            <a:off x="4795284" y="3392893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832499" y="3124200"/>
            <a:ext cx="12426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executeService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5" name="TextBox 4"/>
          <p:cNvSpPr txBox="1"/>
          <p:nvPr/>
        </p:nvSpPr>
        <p:spPr>
          <a:xfrm>
            <a:off x="5943600" y="2037571"/>
            <a:ext cx="280374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ternal server requests a service to microker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is service is provided by an internal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ternal server can be a separate process or a shared 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626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Implementation</a:t>
            </a:r>
            <a:endParaRPr lang="en-IN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624645"/>
              </p:ext>
            </p:extLst>
          </p:nvPr>
        </p:nvGraphicFramePr>
        <p:xfrm>
          <a:off x="357188" y="1334312"/>
          <a:ext cx="8358246" cy="5029196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609455"/>
                <a:gridCol w="7748791"/>
              </a:tblGrid>
              <a:tr h="441158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#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 smtClean="0"/>
                        <a:t>Steps</a:t>
                      </a:r>
                      <a:endParaRPr lang="en-IN" sz="2000" dirty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Analyze</a:t>
                      </a:r>
                      <a:r>
                        <a:rPr lang="en-US" sz="1600" baseline="0" dirty="0" smtClean="0"/>
                        <a:t> the application domain</a:t>
                      </a:r>
                      <a:endParaRPr lang="en-US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2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Analyze</a:t>
                      </a:r>
                      <a:r>
                        <a:rPr lang="en-US" sz="1600" baseline="0" dirty="0" smtClean="0"/>
                        <a:t> the external servers</a:t>
                      </a:r>
                      <a:endParaRPr lang="en-US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3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Categorize the servers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4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Partition the categories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5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Find</a:t>
                      </a:r>
                      <a:r>
                        <a:rPr lang="en-US" sz="1600" baseline="0" dirty="0" smtClean="0"/>
                        <a:t> a consistent and complete set of operations and abstractions</a:t>
                      </a:r>
                      <a:endParaRPr lang="en-US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6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termine strategies for request transmission and retrieval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7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Structure the microkernel component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8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Specify the programming interfaces for the microkernel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9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Microkernel is responsible</a:t>
                      </a:r>
                      <a:r>
                        <a:rPr lang="en-US" sz="1600" baseline="0" dirty="0" smtClean="0"/>
                        <a:t> for all the system resources</a:t>
                      </a:r>
                      <a:endParaRPr lang="en-US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0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sign and implement the internal servers</a:t>
                      </a:r>
                      <a:endParaRPr lang="en-IN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mplement the external servers</a:t>
                      </a:r>
                      <a:endParaRPr lang="en-IN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2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mplement the adapters</a:t>
                      </a:r>
                      <a:endParaRPr lang="en-IN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3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velop client</a:t>
                      </a:r>
                      <a:r>
                        <a:rPr lang="en-US" sz="1600" baseline="0" dirty="0" smtClean="0"/>
                        <a:t> applications</a:t>
                      </a:r>
                      <a:endParaRPr lang="en-IN" sz="16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D13EB83-6648-4ACE-8AA5-838BC64D08ED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215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0350"/>
            <a:ext cx="4040188" cy="639762"/>
          </a:xfrm>
        </p:spPr>
        <p:txBody>
          <a:bodyPr/>
          <a:lstStyle/>
          <a:p>
            <a:r>
              <a:rPr lang="en-US" dirty="0" smtClean="0"/>
              <a:t>1. Analyze Application Domain</a:t>
            </a:r>
            <a:endParaRPr lang="en-US" dirty="0"/>
          </a:p>
        </p:txBody>
      </p:sp>
      <p:sp>
        <p:nvSpPr>
          <p:cNvPr id="4096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dentify the functionality required</a:t>
            </a:r>
          </a:p>
          <a:p>
            <a:pPr eaLnBrk="1" hangingPunct="1"/>
            <a:r>
              <a:rPr lang="en-US" dirty="0" smtClean="0"/>
              <a:t>Perform analysis to identify policies the external servers need to offer for the application domai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dirty="0" smtClean="0"/>
              <a:t>2. Analyze External Server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Analyze </a:t>
            </a:r>
            <a:r>
              <a:rPr lang="en-US" dirty="0"/>
              <a:t>the policies the external servers are going to </a:t>
            </a:r>
            <a:r>
              <a:rPr lang="en-US" dirty="0" smtClean="0"/>
              <a:t>provide to define</a:t>
            </a:r>
            <a:endParaRPr lang="en-US" dirty="0"/>
          </a:p>
          <a:p>
            <a:pPr lvl="1" eaLnBrk="1" hangingPunct="1"/>
            <a:r>
              <a:rPr lang="en-US" dirty="0" smtClean="0"/>
              <a:t>High level interfaces </a:t>
            </a:r>
            <a:r>
              <a:rPr lang="en-US" dirty="0"/>
              <a:t>required to be provided</a:t>
            </a:r>
          </a:p>
          <a:p>
            <a:pPr lvl="1" eaLnBrk="1" hangingPunct="1"/>
            <a:r>
              <a:rPr lang="en-US" dirty="0"/>
              <a:t>List of services and service categories necessary</a:t>
            </a:r>
            <a:endParaRPr lang="en-IN" dirty="0"/>
          </a:p>
          <a:p>
            <a:endParaRPr lang="en-US" dirty="0"/>
          </a:p>
        </p:txBody>
      </p:sp>
      <p:sp>
        <p:nvSpPr>
          <p:cNvPr id="409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Client Requirement</a:t>
            </a:r>
            <a:endParaRPr lang="en-IN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8CECA4F-EA55-429A-83AA-67FE2582386B}" type="datetime1">
              <a:rPr lang="en-US" smtClean="0"/>
              <a:t>3/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510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0963" grpId="0" build="p"/>
      <p:bldP spid="4" grpId="0" build="p"/>
      <p:bldP spid="5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 anchor="t"/>
          <a:lstStyle/>
          <a:p>
            <a:r>
              <a:rPr lang="en-US" dirty="0" smtClean="0"/>
              <a:t>3. Categorize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sz="1800" dirty="0" smtClean="0"/>
              <a:t>Identify all core service functionality</a:t>
            </a:r>
          </a:p>
          <a:p>
            <a:pPr eaLnBrk="1" hangingPunct="1"/>
            <a:r>
              <a:rPr lang="en-US" sz="1800" dirty="0" smtClean="0"/>
              <a:t>Group them into a set of semantically-independent categories</a:t>
            </a:r>
          </a:p>
          <a:p>
            <a:pPr lvl="1" eaLnBrk="1" hangingPunct="1"/>
            <a:r>
              <a:rPr lang="en-US" sz="1600" dirty="0" smtClean="0"/>
              <a:t>Example: memory </a:t>
            </a:r>
            <a:r>
              <a:rPr lang="en-US" sz="1600" dirty="0" err="1" smtClean="0"/>
              <a:t>mgmt</a:t>
            </a:r>
            <a:r>
              <a:rPr lang="en-US" sz="1600" dirty="0" smtClean="0"/>
              <a:t>, process </a:t>
            </a:r>
            <a:r>
              <a:rPr lang="en-US" sz="1600" dirty="0" err="1" smtClean="0"/>
              <a:t>mgmt</a:t>
            </a:r>
            <a:r>
              <a:rPr lang="en-US" sz="1600" dirty="0" smtClean="0"/>
              <a:t>, low level I/O, communication</a:t>
            </a:r>
            <a:endParaRPr lang="en-US" sz="1600" dirty="0"/>
          </a:p>
          <a:p>
            <a:pPr eaLnBrk="1" hangingPunct="1"/>
            <a:r>
              <a:rPr lang="en-US" sz="1800" dirty="0" smtClean="0"/>
              <a:t>Identify categories </a:t>
            </a:r>
            <a:r>
              <a:rPr lang="en-US" sz="1800" dirty="0"/>
              <a:t>which are not directly related to application </a:t>
            </a:r>
            <a:r>
              <a:rPr lang="en-US" sz="1800" dirty="0" smtClean="0"/>
              <a:t>domain</a:t>
            </a:r>
          </a:p>
          <a:p>
            <a:pPr lvl="1" eaLnBrk="1" hangingPunct="1"/>
            <a:r>
              <a:rPr lang="en-US" sz="1600" dirty="0" smtClean="0"/>
              <a:t>Page handler for processes, file system </a:t>
            </a:r>
            <a:r>
              <a:rPr lang="en-US" sz="1600" dirty="0" err="1" smtClean="0"/>
              <a:t>mgmt</a:t>
            </a:r>
            <a:endParaRPr lang="en-US" sz="1600" dirty="0"/>
          </a:p>
          <a:p>
            <a:pPr eaLnBrk="1" hangingPunct="1"/>
            <a:r>
              <a:rPr lang="en-US" sz="1800" dirty="0"/>
              <a:t>Focus is to build the system infrastructure</a:t>
            </a:r>
          </a:p>
          <a:p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dirty="0" smtClean="0"/>
              <a:t>4. Partition categori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Separate the categories of </a:t>
            </a:r>
            <a:r>
              <a:rPr lang="en-US" dirty="0" smtClean="0"/>
              <a:t>services that should belong to microkernel and internal servers</a:t>
            </a:r>
            <a:endParaRPr lang="en-US" dirty="0"/>
          </a:p>
          <a:p>
            <a:pPr lvl="1" eaLnBrk="1" hangingPunct="1"/>
            <a:r>
              <a:rPr lang="en-US" dirty="0"/>
              <a:t>Typically based on frequency of use or hardware dependent will be part of microkernel</a:t>
            </a:r>
          </a:p>
          <a:p>
            <a:pPr lvl="1" eaLnBrk="1" hangingPunct="1"/>
            <a:r>
              <a:rPr lang="en-US" dirty="0"/>
              <a:t>Page fault handlers, drivers and file system form part of internal servers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A37CD03-7457-4287-975D-8D576954F40F}" type="datetime1">
              <a:rPr lang="en-US" smtClean="0"/>
              <a:t>3/3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tegory of Core Services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460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364308"/>
            <a:ext cx="4040188" cy="639762"/>
          </a:xfrm>
        </p:spPr>
        <p:txBody>
          <a:bodyPr/>
          <a:lstStyle/>
          <a:p>
            <a:r>
              <a:rPr lang="en-US" dirty="0" smtClean="0"/>
              <a:t>5. Identify operations for each catego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457200" y="2181534"/>
            <a:ext cx="4040188" cy="3994158"/>
          </a:xfrm>
        </p:spPr>
        <p:txBody>
          <a:bodyPr/>
          <a:lstStyle/>
          <a:p>
            <a:pPr eaLnBrk="1" hangingPunct="1"/>
            <a:r>
              <a:rPr lang="en-US" sz="2000" dirty="0"/>
              <a:t>Find a consistent and complete set of operations and abstractions</a:t>
            </a:r>
          </a:p>
          <a:p>
            <a:pPr eaLnBrk="1" hangingPunct="1"/>
            <a:r>
              <a:rPr lang="en-US" sz="2000" dirty="0"/>
              <a:t>Microkernel provides mechanisms for the policies of external server; each policy is implemented thru use of services the microkernel offers</a:t>
            </a:r>
          </a:p>
          <a:p>
            <a:pPr eaLnBrk="1" hangingPunct="1"/>
            <a:r>
              <a:rPr lang="en-US" sz="2000" dirty="0"/>
              <a:t>Example</a:t>
            </a:r>
          </a:p>
          <a:p>
            <a:pPr lvl="1" eaLnBrk="1" hangingPunct="1"/>
            <a:r>
              <a:rPr lang="en-US" sz="1800" dirty="0"/>
              <a:t>Creating and terminating processes and </a:t>
            </a:r>
            <a:r>
              <a:rPr lang="en-US" sz="1800" dirty="0" smtClean="0"/>
              <a:t>threads</a:t>
            </a: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>
          <a:xfrm>
            <a:off x="4645025" y="1338908"/>
            <a:ext cx="4041775" cy="639762"/>
          </a:xfrm>
        </p:spPr>
        <p:txBody>
          <a:bodyPr/>
          <a:lstStyle/>
          <a:p>
            <a:r>
              <a:rPr lang="en-US" dirty="0" smtClean="0"/>
              <a:t>6. Determine communication strategi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>
          <a:xfrm>
            <a:off x="4645025" y="2156691"/>
            <a:ext cx="4041775" cy="4017818"/>
          </a:xfrm>
        </p:spPr>
        <p:txBody>
          <a:bodyPr/>
          <a:lstStyle/>
          <a:p>
            <a:pPr eaLnBrk="1" hangingPunct="1"/>
            <a:r>
              <a:rPr lang="en-US" sz="2000" dirty="0"/>
              <a:t>Specify the facilities that microkernel should provide for communication between components</a:t>
            </a:r>
          </a:p>
          <a:p>
            <a:pPr lvl="1" eaLnBrk="1" hangingPunct="1"/>
            <a:r>
              <a:rPr lang="en-US" sz="1800" dirty="0"/>
              <a:t>Synchronous/Asynchronous</a:t>
            </a:r>
          </a:p>
          <a:p>
            <a:pPr lvl="1" eaLnBrk="1" hangingPunct="1"/>
            <a:r>
              <a:rPr lang="en-US" sz="1800" dirty="0"/>
              <a:t>Relationship: one-to-one, many-to-one or a many-to-many</a:t>
            </a:r>
          </a:p>
          <a:p>
            <a:pPr eaLnBrk="1" hangingPunct="1"/>
            <a:r>
              <a:rPr lang="en-US" sz="2000" dirty="0"/>
              <a:t>Build core services of message passing or shared memory, based on which the other services can be built</a:t>
            </a:r>
            <a:endParaRPr lang="en-IN" sz="2000" dirty="0"/>
          </a:p>
          <a:p>
            <a:endParaRPr lang="en-US" sz="20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B582A59-E0F7-40B7-9E51-1195C8508250}" type="datetime1">
              <a:rPr lang="en-US" smtClean="0"/>
              <a:t>3/3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Service Design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09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4040188" cy="639762"/>
          </a:xfrm>
        </p:spPr>
        <p:txBody>
          <a:bodyPr/>
          <a:lstStyle/>
          <a:p>
            <a:r>
              <a:rPr lang="en-US" dirty="0"/>
              <a:t>7:Structure the microkernel compon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457200" y="2181534"/>
            <a:ext cx="4040188" cy="3994158"/>
          </a:xfrm>
        </p:spPr>
        <p:txBody>
          <a:bodyPr/>
          <a:lstStyle/>
          <a:p>
            <a:pPr eaLnBrk="1" hangingPunct="1"/>
            <a:r>
              <a:rPr lang="en-US" dirty="0"/>
              <a:t>Separate system-specific parts from system-independent parts</a:t>
            </a:r>
          </a:p>
          <a:p>
            <a:pPr eaLnBrk="1" hangingPunct="1"/>
            <a:r>
              <a:rPr lang="en-US" dirty="0" smtClean="0"/>
              <a:t>Use Layer pattern</a:t>
            </a:r>
            <a:endParaRPr lang="en-US" dirty="0"/>
          </a:p>
          <a:p>
            <a:pPr lvl="1" eaLnBrk="1" hangingPunct="1"/>
            <a:r>
              <a:rPr lang="en-US" dirty="0"/>
              <a:t>Lowermost – system specific</a:t>
            </a:r>
          </a:p>
          <a:p>
            <a:pPr lvl="1" eaLnBrk="1" hangingPunct="1"/>
            <a:r>
              <a:rPr lang="en-US" dirty="0"/>
              <a:t>Uppermost – system independent; focusing on the services which microkernel will </a:t>
            </a:r>
            <a:r>
              <a:rPr lang="en-US" dirty="0" smtClean="0"/>
              <a:t>expos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dirty="0"/>
              <a:t>8:Specify the </a:t>
            </a:r>
            <a:r>
              <a:rPr lang="en-US" dirty="0" smtClean="0"/>
              <a:t>microkernel API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>
          <a:xfrm>
            <a:off x="4645025" y="2156691"/>
            <a:ext cx="4041775" cy="4017818"/>
          </a:xfrm>
        </p:spPr>
        <p:txBody>
          <a:bodyPr/>
          <a:lstStyle/>
          <a:p>
            <a:pPr eaLnBrk="1" hangingPunct="1"/>
            <a:r>
              <a:rPr lang="en-US" dirty="0"/>
              <a:t>Decide how the interfaces should be available externally</a:t>
            </a:r>
          </a:p>
          <a:p>
            <a:pPr eaLnBrk="1" hangingPunct="1"/>
            <a:r>
              <a:rPr lang="en-US" dirty="0"/>
              <a:t>Microkernel as a</a:t>
            </a:r>
          </a:p>
          <a:p>
            <a:pPr lvl="1" eaLnBrk="1" hangingPunct="1"/>
            <a:r>
              <a:rPr lang="en-US" dirty="0"/>
              <a:t>Separate process</a:t>
            </a:r>
          </a:p>
          <a:p>
            <a:pPr lvl="1" eaLnBrk="1" hangingPunct="1"/>
            <a:r>
              <a:rPr lang="en-US" dirty="0"/>
              <a:t>Module physically shared by other components</a:t>
            </a:r>
          </a:p>
          <a:p>
            <a:pPr eaLnBrk="1" hangingPunct="1"/>
            <a:r>
              <a:rPr lang="en-US" dirty="0" smtClean="0"/>
              <a:t>Main Quality attribute: </a:t>
            </a:r>
            <a:r>
              <a:rPr lang="en-US" dirty="0"/>
              <a:t>E</a:t>
            </a:r>
            <a:r>
              <a:rPr lang="en-US" dirty="0" smtClean="0"/>
              <a:t>fficiency </a:t>
            </a:r>
            <a:r>
              <a:rPr lang="en-US" dirty="0"/>
              <a:t>and not make microkernel a bottle neck</a:t>
            </a:r>
            <a:endParaRPr lang="en-IN" dirty="0"/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AB2E85F-4928-4BD4-A053-5E762822279E}" type="datetime1">
              <a:rPr lang="en-US" smtClean="0"/>
              <a:t>3/3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crokern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645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Model-View-Controller</a:t>
            </a:r>
            <a:endParaRPr lang="en-IN" altLang="en-US" smtClean="0"/>
          </a:p>
        </p:txBody>
      </p:sp>
      <p:pic>
        <p:nvPicPr>
          <p:cNvPr id="23554" name="Picture 2" descr="E:\workspace\mvc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17" r="6800" b="19587"/>
          <a:stretch/>
        </p:blipFill>
        <p:spPr bwMode="auto">
          <a:xfrm>
            <a:off x="1676400" y="1329071"/>
            <a:ext cx="5628167" cy="3774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524000" y="5077361"/>
            <a:ext cx="6172200" cy="1323439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0"/>
          </a:sp3d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User makes change in UI, which comes to controller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Controller interprets the change, informs model for the change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Model makes change in data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Model notifies all the relevant views regarding the change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View gets latest data and updates the display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A96082-CCC6-4840-8986-E81930F13AA1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752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344852"/>
            <a:ext cx="4040188" cy="639762"/>
          </a:xfrm>
        </p:spPr>
        <p:txBody>
          <a:bodyPr/>
          <a:lstStyle/>
          <a:p>
            <a:r>
              <a:rPr lang="en-US" dirty="0" smtClean="0"/>
              <a:t>9:Design Microkernel resource </a:t>
            </a:r>
            <a:r>
              <a:rPr lang="en-US" dirty="0" err="1" smtClean="0"/>
              <a:t>mgm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mplement </a:t>
            </a:r>
            <a:r>
              <a:rPr lang="en-US" dirty="0"/>
              <a:t>strategies for sharing, locking, allocation and </a:t>
            </a:r>
            <a:r>
              <a:rPr lang="en-US" dirty="0" err="1"/>
              <a:t>deallocation</a:t>
            </a:r>
            <a:r>
              <a:rPr lang="en-US" dirty="0"/>
              <a:t> of resources</a:t>
            </a:r>
          </a:p>
          <a:p>
            <a:pPr eaLnBrk="1" hangingPunct="1"/>
            <a:r>
              <a:rPr lang="en-US" dirty="0"/>
              <a:t>Maintain the information about resources and allow access to them in a coordinated and systematic </a:t>
            </a:r>
            <a:r>
              <a:rPr lang="en-US" dirty="0" smtClean="0"/>
              <a:t>way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>
          <a:xfrm>
            <a:off x="4645025" y="1319452"/>
            <a:ext cx="4041775" cy="639762"/>
          </a:xfrm>
        </p:spPr>
        <p:txBody>
          <a:bodyPr/>
          <a:lstStyle/>
          <a:p>
            <a:r>
              <a:rPr lang="en-US" dirty="0"/>
              <a:t>10:Design &amp; Implement Internal Serv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Separate processes or shared </a:t>
            </a:r>
            <a:r>
              <a:rPr lang="en-US" dirty="0" smtClean="0"/>
              <a:t>libraries centered around resources</a:t>
            </a:r>
            <a:endParaRPr lang="en-US" dirty="0"/>
          </a:p>
          <a:p>
            <a:pPr lvl="1" eaLnBrk="1" hangingPunct="1"/>
            <a:r>
              <a:rPr lang="en-US" dirty="0"/>
              <a:t>Active servers are implemented as processes</a:t>
            </a:r>
          </a:p>
          <a:p>
            <a:pPr lvl="1" eaLnBrk="1" hangingPunct="1"/>
            <a:r>
              <a:rPr lang="en-US" dirty="0"/>
              <a:t>Passive servers are implemented as shared libraries</a:t>
            </a:r>
          </a:p>
          <a:p>
            <a:pPr eaLnBrk="1" hangingPunct="1"/>
            <a:r>
              <a:rPr lang="en-US" dirty="0"/>
              <a:t>Graphics card driver </a:t>
            </a:r>
            <a:r>
              <a:rPr lang="en-US" dirty="0">
                <a:sym typeface="Wingdings" pitchFamily="2" charset="2"/>
              </a:rPr>
              <a:t> shared libraries</a:t>
            </a:r>
          </a:p>
          <a:p>
            <a:pPr eaLnBrk="1" hangingPunct="1"/>
            <a:r>
              <a:rPr lang="en-US" dirty="0">
                <a:sym typeface="Wingdings" pitchFamily="2" charset="2"/>
              </a:rPr>
              <a:t>Page fault handler  separate </a:t>
            </a:r>
            <a:r>
              <a:rPr lang="en-US" dirty="0" smtClean="0">
                <a:sym typeface="Wingdings" pitchFamily="2" charset="2"/>
              </a:rPr>
              <a:t>processes</a:t>
            </a:r>
            <a:endParaRPr lang="en-IN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44FA3FB-E156-43E7-A857-C0F68D682085}" type="datetime1">
              <a:rPr lang="en-US" smtClean="0"/>
              <a:t>3/3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 Management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039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uiExpand="1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4040188" cy="639762"/>
          </a:xfrm>
        </p:spPr>
        <p:txBody>
          <a:bodyPr/>
          <a:lstStyle/>
          <a:p>
            <a:r>
              <a:rPr lang="en-US" dirty="0"/>
              <a:t>11:Implement </a:t>
            </a:r>
            <a:r>
              <a:rPr lang="en-US" dirty="0" smtClean="0"/>
              <a:t>external </a:t>
            </a:r>
            <a:r>
              <a:rPr lang="en-US" dirty="0"/>
              <a:t>serv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/>
              <a:t>Each external server is implemented as a separate process that provides it’s own service interface</a:t>
            </a:r>
          </a:p>
          <a:p>
            <a:pPr eaLnBrk="1" hangingPunct="1"/>
            <a:r>
              <a:rPr lang="en-US" dirty="0"/>
              <a:t>Internal architecture depends on the policies it comprises</a:t>
            </a:r>
          </a:p>
          <a:p>
            <a:pPr eaLnBrk="1" hangingPunct="1"/>
            <a:r>
              <a:rPr lang="en-US" dirty="0"/>
              <a:t>Specify how external servers dispatch requests to their internal </a:t>
            </a:r>
            <a:r>
              <a:rPr lang="en-US" dirty="0" smtClean="0"/>
              <a:t>procedur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dirty="0"/>
              <a:t>12:Implement </a:t>
            </a:r>
            <a:r>
              <a:rPr lang="en-US" dirty="0" smtClean="0"/>
              <a:t>adapter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Decide on strategy of adapter; one adapter for all clients or every client associated with one adapter (trade off)</a:t>
            </a:r>
          </a:p>
          <a:p>
            <a:pPr eaLnBrk="1" hangingPunct="1"/>
            <a:r>
              <a:rPr lang="en-US" dirty="0"/>
              <a:t>Adapter needs to package all relevant information into a request and forwards the request to appropriate external server</a:t>
            </a:r>
          </a:p>
          <a:p>
            <a:pPr eaLnBrk="1" hangingPunct="1"/>
            <a:r>
              <a:rPr lang="en-US" dirty="0" smtClean="0"/>
              <a:t>Use </a:t>
            </a:r>
            <a:r>
              <a:rPr lang="en-US" dirty="0"/>
              <a:t>“Proxy</a:t>
            </a:r>
            <a:r>
              <a:rPr lang="en-US" dirty="0" smtClean="0"/>
              <a:t>” pattern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45651C-B606-4921-81E6-B892AE383C66}" type="datetime1">
              <a:rPr lang="en-US" smtClean="0"/>
              <a:t>3/3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ent Access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867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4800" dirty="0" smtClean="0"/>
              <a:t>Variants</a:t>
            </a:r>
            <a:endParaRPr lang="en-IN" sz="4800" dirty="0" smtClean="0"/>
          </a:p>
        </p:txBody>
      </p:sp>
      <p:sp>
        <p:nvSpPr>
          <p:cNvPr id="5427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Microkernel system with indirect Client-Server connections</a:t>
            </a:r>
          </a:p>
          <a:p>
            <a:pPr eaLnBrk="1" hangingPunct="1"/>
            <a:r>
              <a:rPr lang="en-US" dirty="0" smtClean="0"/>
              <a:t>Distributed Microkernel System</a:t>
            </a:r>
          </a:p>
          <a:p>
            <a:pPr eaLnBrk="1" hangingPunct="1"/>
            <a:endParaRPr 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A18BED-7447-4CF3-A0AC-F2268C40624A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423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Broker</a:t>
            </a:r>
          </a:p>
          <a:p>
            <a:pPr lvl="1"/>
            <a:r>
              <a:rPr lang="en-US" dirty="0" smtClean="0"/>
              <a:t>Coupling</a:t>
            </a:r>
          </a:p>
          <a:p>
            <a:pPr lvl="2"/>
            <a:r>
              <a:rPr lang="en-US" dirty="0" smtClean="0"/>
              <a:t>Broker is decentralized</a:t>
            </a:r>
          </a:p>
          <a:p>
            <a:pPr lvl="2"/>
            <a:r>
              <a:rPr lang="en-US" dirty="0" smtClean="0"/>
              <a:t>Microkernel is more tightly coupled</a:t>
            </a:r>
          </a:p>
          <a:p>
            <a:pPr lvl="1"/>
            <a:r>
              <a:rPr lang="en-US" dirty="0" smtClean="0"/>
              <a:t>Client </a:t>
            </a:r>
            <a:r>
              <a:rPr lang="en-US" dirty="0" err="1" smtClean="0"/>
              <a:t>communiction</a:t>
            </a:r>
            <a:endParaRPr lang="en-US" dirty="0" smtClean="0"/>
          </a:p>
          <a:p>
            <a:pPr lvl="2"/>
            <a:r>
              <a:rPr lang="en-US" dirty="0" smtClean="0"/>
              <a:t>In broker, clients communicate via message passing</a:t>
            </a:r>
          </a:p>
          <a:p>
            <a:pPr lvl="2"/>
            <a:r>
              <a:rPr lang="en-US" dirty="0" smtClean="0"/>
              <a:t>Microkernel uses adapter strategy so that clients do not call the service directly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Layer</a:t>
            </a:r>
          </a:p>
          <a:p>
            <a:pPr lvl="1"/>
            <a:r>
              <a:rPr lang="en-US" dirty="0" smtClean="0"/>
              <a:t>Microkernel can be thought of as a variant of layered architecture</a:t>
            </a:r>
          </a:p>
          <a:p>
            <a:pPr lvl="1"/>
            <a:r>
              <a:rPr lang="en-US" dirty="0" smtClean="0"/>
              <a:t>Each layer is a VM</a:t>
            </a:r>
          </a:p>
          <a:p>
            <a:pPr lvl="2"/>
            <a:r>
              <a:rPr lang="en-US" dirty="0" smtClean="0"/>
              <a:t>Lowest layer – internal server</a:t>
            </a:r>
          </a:p>
          <a:p>
            <a:pPr lvl="2"/>
            <a:r>
              <a:rPr lang="en-US" dirty="0" smtClean="0"/>
              <a:t>Middle layer external </a:t>
            </a:r>
            <a:r>
              <a:rPr lang="en-US" dirty="0" err="1" smtClean="0"/>
              <a:t>server+adapter</a:t>
            </a:r>
            <a:endParaRPr lang="en-US" dirty="0" smtClean="0"/>
          </a:p>
          <a:p>
            <a:pPr lvl="2"/>
            <a:r>
              <a:rPr lang="en-US" dirty="0" smtClean="0"/>
              <a:t>Topmost layer – client applic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1DBEC9-62C5-46BC-A548-3A13D0018E7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onship with Other Patter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676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sp>
        <p:nvSpPr>
          <p:cNvPr id="55299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Portability</a:t>
            </a:r>
          </a:p>
          <a:p>
            <a:pPr eaLnBrk="1" hangingPunct="1"/>
            <a:r>
              <a:rPr lang="en-US" dirty="0" smtClean="0"/>
              <a:t>Flexibility and Extensibility</a:t>
            </a:r>
          </a:p>
          <a:p>
            <a:pPr eaLnBrk="1" hangingPunct="1"/>
            <a:r>
              <a:rPr lang="en-US" dirty="0" smtClean="0"/>
              <a:t>Separation of policy and mechanism</a:t>
            </a:r>
          </a:p>
          <a:p>
            <a:pPr eaLnBrk="1" hangingPunct="1"/>
            <a:r>
              <a:rPr lang="en-US" dirty="0" smtClean="0">
                <a:solidFill>
                  <a:srgbClr val="0070C0"/>
                </a:solidFill>
              </a:rPr>
              <a:t>Scalability</a:t>
            </a:r>
          </a:p>
          <a:p>
            <a:pPr eaLnBrk="1" hangingPunct="1"/>
            <a:r>
              <a:rPr lang="en-US" dirty="0" smtClean="0">
                <a:solidFill>
                  <a:srgbClr val="0070C0"/>
                </a:solidFill>
              </a:rPr>
              <a:t>Reliability</a:t>
            </a:r>
          </a:p>
          <a:p>
            <a:pPr eaLnBrk="1" hangingPunct="1"/>
            <a:r>
              <a:rPr lang="en-US" dirty="0" smtClean="0">
                <a:solidFill>
                  <a:srgbClr val="0070C0"/>
                </a:solidFill>
              </a:rPr>
              <a:t>Transparency</a:t>
            </a:r>
            <a:endParaRPr lang="en-US" sz="2800" dirty="0" smtClean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Liabilit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Performance</a:t>
            </a:r>
          </a:p>
          <a:p>
            <a:pPr eaLnBrk="1" hangingPunct="1"/>
            <a:r>
              <a:rPr lang="en-US" dirty="0"/>
              <a:t>Complexity of design and </a:t>
            </a:r>
            <a:r>
              <a:rPr lang="en-US" dirty="0" smtClean="0"/>
              <a:t>implementation</a:t>
            </a:r>
            <a:endParaRPr lang="en-US" dirty="0"/>
          </a:p>
        </p:txBody>
      </p:sp>
      <p:sp>
        <p:nvSpPr>
          <p:cNvPr id="552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200" dirty="0" smtClean="0"/>
              <a:t>Pros and Cons</a:t>
            </a:r>
            <a:endParaRPr lang="en-IN" sz="3200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BD23FCE-3323-493A-8AE0-A2BC8FC980BA}" type="datetime1">
              <a:rPr lang="en-US" smtClean="0"/>
              <a:t>3/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82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299" grpId="0" build="p"/>
      <p:bldP spid="4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Known Uses</a:t>
            </a:r>
            <a:endParaRPr lang="en-IN" smtClean="0"/>
          </a:p>
        </p:txBody>
      </p:sp>
      <p:sp>
        <p:nvSpPr>
          <p:cNvPr id="573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z="2800" smtClean="0"/>
              <a:t>Mach operating System</a:t>
            </a:r>
          </a:p>
          <a:p>
            <a:pPr eaLnBrk="1" hangingPunct="1"/>
            <a:r>
              <a:rPr lang="en-US" sz="2800" smtClean="0"/>
              <a:t>Amoeba operating System</a:t>
            </a:r>
          </a:p>
          <a:p>
            <a:pPr eaLnBrk="1" hangingPunct="1"/>
            <a:r>
              <a:rPr lang="en-US" sz="2800" smtClean="0"/>
              <a:t>Chorus</a:t>
            </a:r>
          </a:p>
          <a:p>
            <a:pPr eaLnBrk="1" hangingPunct="1"/>
            <a:r>
              <a:rPr lang="en-US" sz="2800" smtClean="0"/>
              <a:t>Windows NT</a:t>
            </a:r>
          </a:p>
          <a:p>
            <a:pPr eaLnBrk="1" hangingPunct="1"/>
            <a:r>
              <a:rPr lang="en-US" sz="2800" smtClean="0"/>
              <a:t>Symbian</a:t>
            </a:r>
          </a:p>
          <a:p>
            <a:pPr eaLnBrk="1" hangingPunct="1"/>
            <a:endParaRPr lang="en-US" sz="2800" smtClean="0"/>
          </a:p>
          <a:p>
            <a:pPr eaLnBrk="1" hangingPunct="1"/>
            <a:r>
              <a:rPr lang="en-US" sz="2800" smtClean="0">
                <a:solidFill>
                  <a:srgbClr val="FF0000"/>
                </a:solidFill>
              </a:rPr>
              <a:t>Find (at least 2) more popular uses and document them</a:t>
            </a:r>
          </a:p>
          <a:p>
            <a:pPr eaLnBrk="1" hangingPunct="1"/>
            <a:r>
              <a:rPr lang="en-IN" sz="2800" b="1" smtClean="0">
                <a:solidFill>
                  <a:srgbClr val="FF0000"/>
                </a:solidFill>
              </a:rPr>
              <a:t>Conceptual Architecture of the Linux Kernel </a:t>
            </a:r>
            <a:r>
              <a:rPr lang="en-US" sz="2800" smtClean="0">
                <a:solidFill>
                  <a:srgbClr val="FF0000"/>
                </a:solidFill>
                <a:hlinkClick r:id="rId2"/>
              </a:rPr>
              <a:t>http://docs.huihoo.com/linux/kernel/a1/index.html</a:t>
            </a:r>
            <a:r>
              <a:rPr lang="en-US" sz="2800" smtClean="0">
                <a:solidFill>
                  <a:srgbClr val="FF0000"/>
                </a:solidFill>
              </a:rPr>
              <a:t> </a:t>
            </a:r>
            <a:endParaRPr lang="en-IN" sz="2800" b="1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130D05B-CC55-4BB0-9AC9-7FE60DA38AD7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258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0BC3032-F971-4845-85BA-7D9147DE03BA}" type="datetime1">
              <a:rPr lang="en-US" smtClean="0"/>
              <a:t>3/3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VC Dynamics- User Even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pic>
        <p:nvPicPr>
          <p:cNvPr id="23554" name="Picture 2" descr="E:\workspace\mvc-seq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143000"/>
            <a:ext cx="6229350" cy="556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7"/>
          <p:cNvSpPr/>
          <p:nvPr/>
        </p:nvSpPr>
        <p:spPr>
          <a:xfrm>
            <a:off x="5334000" y="2128837"/>
            <a:ext cx="376237" cy="385763"/>
          </a:xfrm>
          <a:custGeom>
            <a:avLst/>
            <a:gdLst>
              <a:gd name="connsiteX0" fmla="*/ 18288 w 376428"/>
              <a:gd name="connsiteY0" fmla="*/ 166116 h 385572"/>
              <a:gd name="connsiteX1" fmla="*/ 283464 w 376428"/>
              <a:gd name="connsiteY1" fmla="*/ 28956 h 385572"/>
              <a:gd name="connsiteX2" fmla="*/ 329184 w 376428"/>
              <a:gd name="connsiteY2" fmla="*/ 339852 h 385572"/>
              <a:gd name="connsiteX3" fmla="*/ 0 w 376428"/>
              <a:gd name="connsiteY3" fmla="*/ 303276 h 38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428" h="385572">
                <a:moveTo>
                  <a:pt x="18288" y="166116"/>
                </a:moveTo>
                <a:cubicBezTo>
                  <a:pt x="124968" y="83058"/>
                  <a:pt x="231648" y="0"/>
                  <a:pt x="283464" y="28956"/>
                </a:cubicBezTo>
                <a:cubicBezTo>
                  <a:pt x="335280" y="57912"/>
                  <a:pt x="376428" y="294132"/>
                  <a:pt x="329184" y="339852"/>
                </a:cubicBezTo>
                <a:cubicBezTo>
                  <a:pt x="281940" y="385572"/>
                  <a:pt x="140970" y="344424"/>
                  <a:pt x="0" y="303276"/>
                </a:cubicBezTo>
              </a:path>
            </a:pathLst>
          </a:cu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5533189" y="1985951"/>
            <a:ext cx="638316" cy="26161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0"/>
          </a:sp3d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100" dirty="0" smtClean="0"/>
              <a:t>notify()</a:t>
            </a:r>
            <a:endParaRPr lang="en-IN" sz="1100" dirty="0"/>
          </a:p>
        </p:txBody>
      </p:sp>
      <p:sp>
        <p:nvSpPr>
          <p:cNvPr id="10" name="Freeform 9"/>
          <p:cNvSpPr/>
          <p:nvPr/>
        </p:nvSpPr>
        <p:spPr>
          <a:xfrm>
            <a:off x="6848451" y="2890837"/>
            <a:ext cx="376238" cy="1376363"/>
          </a:xfrm>
          <a:custGeom>
            <a:avLst/>
            <a:gdLst>
              <a:gd name="connsiteX0" fmla="*/ 18288 w 376428"/>
              <a:gd name="connsiteY0" fmla="*/ 166116 h 385572"/>
              <a:gd name="connsiteX1" fmla="*/ 283464 w 376428"/>
              <a:gd name="connsiteY1" fmla="*/ 28956 h 385572"/>
              <a:gd name="connsiteX2" fmla="*/ 329184 w 376428"/>
              <a:gd name="connsiteY2" fmla="*/ 339852 h 385572"/>
              <a:gd name="connsiteX3" fmla="*/ 0 w 376428"/>
              <a:gd name="connsiteY3" fmla="*/ 303276 h 38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428" h="385572">
                <a:moveTo>
                  <a:pt x="18288" y="166116"/>
                </a:moveTo>
                <a:cubicBezTo>
                  <a:pt x="124968" y="83058"/>
                  <a:pt x="231648" y="0"/>
                  <a:pt x="283464" y="28956"/>
                </a:cubicBezTo>
                <a:cubicBezTo>
                  <a:pt x="335280" y="57912"/>
                  <a:pt x="376428" y="294132"/>
                  <a:pt x="329184" y="339852"/>
                </a:cubicBezTo>
                <a:cubicBezTo>
                  <a:pt x="281940" y="385572"/>
                  <a:pt x="140970" y="344424"/>
                  <a:pt x="0" y="303276"/>
                </a:cubicBezTo>
              </a:path>
            </a:pathLst>
          </a:cu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  <p:sp>
        <p:nvSpPr>
          <p:cNvPr id="11" name="TextBox 10"/>
          <p:cNvSpPr txBox="1"/>
          <p:nvPr/>
        </p:nvSpPr>
        <p:spPr>
          <a:xfrm>
            <a:off x="7073287" y="3302019"/>
            <a:ext cx="763351" cy="27699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0"/>
          </a:sp3d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dirty="0"/>
              <a:t>d</a:t>
            </a:r>
            <a:r>
              <a:rPr lang="en-US" sz="1200" dirty="0" smtClean="0"/>
              <a:t>isplay()</a:t>
            </a:r>
            <a:endParaRPr lang="en-IN" sz="1200" dirty="0"/>
          </a:p>
        </p:txBody>
      </p:sp>
    </p:spTree>
    <p:extLst>
      <p:ext uri="{BB962C8B-B14F-4D97-AF65-F5344CB8AC3E}">
        <p14:creationId xmlns:p14="http://schemas.microsoft.com/office/powerpoint/2010/main" val="3990769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7DB16EE-CAEA-4E1B-A8BF-B4D1A0DB9A07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VC Initialization</a:t>
            </a:r>
            <a:endParaRPr lang="en-US" dirty="0"/>
          </a:p>
        </p:txBody>
      </p:sp>
      <p:pic>
        <p:nvPicPr>
          <p:cNvPr id="24578" name="Picture 2" descr="E:\workspace\mvc-seq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143000"/>
            <a:ext cx="6715125" cy="553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922396" y="3499487"/>
            <a:ext cx="1326004" cy="27699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0"/>
          </a:sp3d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dirty="0" err="1" smtClean="0"/>
              <a:t>makeController</a:t>
            </a:r>
            <a:r>
              <a:rPr lang="en-US" sz="1200" dirty="0" smtClean="0"/>
              <a:t>()</a:t>
            </a:r>
            <a:endParaRPr lang="en-IN" sz="1200" dirty="0"/>
          </a:p>
        </p:txBody>
      </p:sp>
      <p:sp>
        <p:nvSpPr>
          <p:cNvPr id="7" name="Freeform 6"/>
          <p:cNvSpPr/>
          <p:nvPr/>
        </p:nvSpPr>
        <p:spPr>
          <a:xfrm>
            <a:off x="4668818" y="3576638"/>
            <a:ext cx="376238" cy="385762"/>
          </a:xfrm>
          <a:custGeom>
            <a:avLst/>
            <a:gdLst>
              <a:gd name="connsiteX0" fmla="*/ 18288 w 376428"/>
              <a:gd name="connsiteY0" fmla="*/ 166116 h 385572"/>
              <a:gd name="connsiteX1" fmla="*/ 283464 w 376428"/>
              <a:gd name="connsiteY1" fmla="*/ 28956 h 385572"/>
              <a:gd name="connsiteX2" fmla="*/ 329184 w 376428"/>
              <a:gd name="connsiteY2" fmla="*/ 339852 h 385572"/>
              <a:gd name="connsiteX3" fmla="*/ 0 w 376428"/>
              <a:gd name="connsiteY3" fmla="*/ 303276 h 38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428" h="385572">
                <a:moveTo>
                  <a:pt x="18288" y="166116"/>
                </a:moveTo>
                <a:cubicBezTo>
                  <a:pt x="124968" y="83058"/>
                  <a:pt x="231648" y="0"/>
                  <a:pt x="283464" y="28956"/>
                </a:cubicBezTo>
                <a:cubicBezTo>
                  <a:pt x="335280" y="57912"/>
                  <a:pt x="376428" y="294132"/>
                  <a:pt x="329184" y="339852"/>
                </a:cubicBezTo>
                <a:cubicBezTo>
                  <a:pt x="281940" y="385572"/>
                  <a:pt x="140970" y="344424"/>
                  <a:pt x="0" y="303276"/>
                </a:cubicBezTo>
              </a:path>
            </a:pathLst>
          </a:cu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  <p:sp>
        <p:nvSpPr>
          <p:cNvPr id="8" name="TextBox 7"/>
          <p:cNvSpPr txBox="1"/>
          <p:nvPr/>
        </p:nvSpPr>
        <p:spPr>
          <a:xfrm>
            <a:off x="1843424" y="5715016"/>
            <a:ext cx="1737976" cy="27699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0"/>
          </a:sp3d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dirty="0" err="1" smtClean="0"/>
              <a:t>startEventProcessing</a:t>
            </a:r>
            <a:r>
              <a:rPr lang="en-US" sz="1200" dirty="0" smtClean="0"/>
              <a:t>()</a:t>
            </a:r>
            <a:endParaRPr lang="en-IN" sz="1200" dirty="0"/>
          </a:p>
        </p:txBody>
      </p:sp>
      <p:sp>
        <p:nvSpPr>
          <p:cNvPr id="9" name="Freeform 8"/>
          <p:cNvSpPr/>
          <p:nvPr/>
        </p:nvSpPr>
        <p:spPr>
          <a:xfrm>
            <a:off x="1581157" y="5792788"/>
            <a:ext cx="376237" cy="385762"/>
          </a:xfrm>
          <a:custGeom>
            <a:avLst/>
            <a:gdLst>
              <a:gd name="connsiteX0" fmla="*/ 18288 w 376428"/>
              <a:gd name="connsiteY0" fmla="*/ 166116 h 385572"/>
              <a:gd name="connsiteX1" fmla="*/ 283464 w 376428"/>
              <a:gd name="connsiteY1" fmla="*/ 28956 h 385572"/>
              <a:gd name="connsiteX2" fmla="*/ 329184 w 376428"/>
              <a:gd name="connsiteY2" fmla="*/ 339852 h 385572"/>
              <a:gd name="connsiteX3" fmla="*/ 0 w 376428"/>
              <a:gd name="connsiteY3" fmla="*/ 303276 h 38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428" h="385572">
                <a:moveTo>
                  <a:pt x="18288" y="166116"/>
                </a:moveTo>
                <a:cubicBezTo>
                  <a:pt x="124968" y="83058"/>
                  <a:pt x="231648" y="0"/>
                  <a:pt x="283464" y="28956"/>
                </a:cubicBezTo>
                <a:cubicBezTo>
                  <a:pt x="335280" y="57912"/>
                  <a:pt x="376428" y="294132"/>
                  <a:pt x="329184" y="339852"/>
                </a:cubicBezTo>
                <a:cubicBezTo>
                  <a:pt x="281940" y="385572"/>
                  <a:pt x="140970" y="344424"/>
                  <a:pt x="0" y="303276"/>
                </a:cubicBezTo>
              </a:path>
            </a:pathLst>
          </a:cu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0018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Other Dynamic Scenarios</a:t>
            </a:r>
            <a:endParaRPr lang="en-IN" altLang="en-US" smtClean="0"/>
          </a:p>
        </p:txBody>
      </p:sp>
      <p:sp>
        <p:nvSpPr>
          <p:cNvPr id="29699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Update to display alone i.e. no change in the controller</a:t>
            </a:r>
          </a:p>
          <a:p>
            <a:pPr eaLnBrk="1" hangingPunct="1"/>
            <a:r>
              <a:rPr lang="en-US" altLang="en-US" smtClean="0"/>
              <a:t>System exit. Sequence of deletion or destruction of objects</a:t>
            </a:r>
          </a:p>
          <a:p>
            <a:pPr eaLnBrk="1" hangingPunct="1"/>
            <a:r>
              <a:rPr lang="en-US" altLang="en-US" smtClean="0"/>
              <a:t>Scenario of update with multiple View-Controller pairs</a:t>
            </a:r>
          </a:p>
          <a:p>
            <a:pPr eaLnBrk="1" hangingPunct="1"/>
            <a:r>
              <a:rPr lang="en-US" altLang="en-US" smtClean="0"/>
              <a:t>…</a:t>
            </a:r>
            <a:endParaRPr lang="en-IN" altLang="en-US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A4937D-E678-4D09-B296-0D843BB2EF44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344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Implementation</a:t>
            </a:r>
            <a:endParaRPr lang="en-IN" altLang="en-US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524296"/>
              </p:ext>
            </p:extLst>
          </p:nvPr>
        </p:nvGraphicFramePr>
        <p:xfrm>
          <a:off x="838201" y="1447800"/>
          <a:ext cx="7543801" cy="236220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458046"/>
                <a:gridCol w="443753"/>
                <a:gridCol w="5642002"/>
              </a:tblGrid>
              <a:tr h="500063">
                <a:tc>
                  <a:txBody>
                    <a:bodyPr/>
                    <a:lstStyle/>
                    <a:p>
                      <a:pPr algn="ctr"/>
                      <a:endParaRPr lang="en-IN" sz="20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#</a:t>
                      </a:r>
                      <a:endParaRPr lang="en-IN" sz="20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 smtClean="0"/>
                        <a:t>Steps</a:t>
                      </a:r>
                      <a:endParaRPr lang="en-IN" sz="2000" dirty="0"/>
                    </a:p>
                  </a:txBody>
                  <a:tcPr marL="91439" marR="91439"/>
                </a:tc>
              </a:tr>
              <a:tr h="414337">
                <a:tc rowSpan="5"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Fundamental steps for </a:t>
                      </a:r>
                      <a:r>
                        <a:rPr lang="en-US" sz="1800" dirty="0" err="1" smtClean="0"/>
                        <a:t>realising</a:t>
                      </a:r>
                      <a:r>
                        <a:rPr lang="en-US" sz="1800" dirty="0" smtClean="0"/>
                        <a:t> a MVC</a:t>
                      </a:r>
                      <a:endParaRPr lang="en-IN" sz="18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Separate human-computer interaction from the core functionality</a:t>
                      </a:r>
                    </a:p>
                  </a:txBody>
                  <a:tcPr marL="91439" marR="91439"/>
                </a:tc>
              </a:tr>
              <a:tr h="304800"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2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mplement the set-up of MVC setup part</a:t>
                      </a:r>
                    </a:p>
                  </a:txBody>
                  <a:tcPr marL="91439" marR="91439"/>
                </a:tc>
              </a:tr>
              <a:tr h="350520"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3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sign and</a:t>
                      </a:r>
                      <a:r>
                        <a:rPr lang="en-US" sz="1600" baseline="0" dirty="0" smtClean="0"/>
                        <a:t> implement Model</a:t>
                      </a:r>
                      <a:endParaRPr lang="en-US" sz="1600" dirty="0" smtClean="0"/>
                    </a:p>
                  </a:txBody>
                  <a:tcPr marL="91439" marR="91439"/>
                </a:tc>
              </a:tr>
              <a:tr h="381000"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4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sign and implement views</a:t>
                      </a:r>
                    </a:p>
                  </a:txBody>
                  <a:tcPr marL="91439" marR="91439"/>
                </a:tc>
              </a:tr>
              <a:tr h="381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5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sign and implement controllers</a:t>
                      </a:r>
                    </a:p>
                  </a:txBody>
                  <a:tcPr marL="91439" marR="91439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5B7B481-A81F-44E5-BF17-3CBBD4E6E120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30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67833" y="1374263"/>
            <a:ext cx="4040188" cy="639762"/>
          </a:xfrm>
        </p:spPr>
        <p:txBody>
          <a:bodyPr/>
          <a:lstStyle/>
          <a:p>
            <a:r>
              <a:rPr lang="en-US" altLang="en-US" dirty="0"/>
              <a:t>1: Separate Human-Computer Interaction</a:t>
            </a:r>
            <a:endParaRPr lang="en-US" dirty="0"/>
          </a:p>
        </p:txBody>
      </p:sp>
      <p:sp>
        <p:nvSpPr>
          <p:cNvPr id="31747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Analyze and separate the core functionality of your system and data from input and output</a:t>
            </a:r>
          </a:p>
          <a:p>
            <a:pPr eaLnBrk="1" hangingPunct="1"/>
            <a:r>
              <a:rPr lang="en-US" altLang="en-US" dirty="0" smtClean="0"/>
              <a:t>Decide on the functionality to be exposed to View(s) and controller(s)</a:t>
            </a:r>
          </a:p>
          <a:p>
            <a:pPr eaLnBrk="1" hangingPunct="1"/>
            <a:r>
              <a:rPr lang="en-US" altLang="en-US" dirty="0" smtClean="0"/>
              <a:t>Decide how many views and controllers you need</a:t>
            </a:r>
            <a:endParaRPr lang="en-IN" alt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altLang="en-US" dirty="0" smtClean="0"/>
              <a:t>2. Set-up </a:t>
            </a:r>
            <a:r>
              <a:rPr lang="en-US" altLang="en-US" dirty="0"/>
              <a:t>MVC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 smtClean="0"/>
              <a:t>Write code that calls Model initialization method</a:t>
            </a:r>
            <a:endParaRPr lang="en-US" altLang="en-US" sz="2800" dirty="0"/>
          </a:p>
          <a:p>
            <a:pPr eaLnBrk="1" hangingPunct="1"/>
            <a:r>
              <a:rPr lang="en-US" altLang="en-US" sz="2800" dirty="0" smtClean="0"/>
              <a:t>Write code to call view creation</a:t>
            </a:r>
            <a:endParaRPr lang="en-US" altLang="en-US" sz="2400" dirty="0"/>
          </a:p>
          <a:p>
            <a:pPr eaLnBrk="1" hangingPunct="1"/>
            <a:r>
              <a:rPr lang="en-US" altLang="en-US" sz="2800" dirty="0" smtClean="0"/>
              <a:t>Write the Start </a:t>
            </a:r>
            <a:r>
              <a:rPr lang="en-US" altLang="en-US" sz="2800" dirty="0"/>
              <a:t>the event processing mechanism</a:t>
            </a:r>
            <a:endParaRPr lang="en-US" dirty="0"/>
          </a:p>
        </p:txBody>
      </p:sp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N" altLang="en-US" dirty="0" smtClean="0"/>
              <a:t>Initial Par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E8FE30-1A37-47D8-AF52-4C17124E4AE0}" type="datetime1">
              <a:rPr lang="en-US" smtClean="0"/>
              <a:t>3/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624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1747" grpId="0" build="p"/>
      <p:bldP spid="3" grpId="0" build="p"/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3: Design the Model</a:t>
            </a:r>
            <a:endParaRPr lang="en-IN" altLang="en-US" dirty="0" smtClean="0"/>
          </a:p>
        </p:txBody>
      </p:sp>
      <p:sp>
        <p:nvSpPr>
          <p:cNvPr id="3277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E</a:t>
            </a:r>
            <a:r>
              <a:rPr lang="en-US" altLang="en-US" sz="2800" dirty="0" smtClean="0"/>
              <a:t>ncapsulate </a:t>
            </a:r>
            <a:r>
              <a:rPr lang="en-US" altLang="en-US" sz="2800" dirty="0"/>
              <a:t>the data and </a:t>
            </a:r>
            <a:r>
              <a:rPr lang="en-US" altLang="en-US" sz="2800" dirty="0" smtClean="0"/>
              <a:t>functionality to access and modify data</a:t>
            </a:r>
          </a:p>
          <a:p>
            <a:pPr lvl="1" eaLnBrk="1" hangingPunct="1"/>
            <a:r>
              <a:rPr lang="en-US" altLang="en-US" sz="2400" dirty="0" smtClean="0"/>
              <a:t>Bridge to the core business logic of the system</a:t>
            </a:r>
            <a:endParaRPr lang="en-US" altLang="en-US" sz="2400" dirty="0"/>
          </a:p>
          <a:p>
            <a:pPr eaLnBrk="1" hangingPunct="1"/>
            <a:r>
              <a:rPr lang="en-US" altLang="en-US" sz="2800" dirty="0" smtClean="0"/>
              <a:t>Publish-Subscribe design </a:t>
            </a:r>
            <a:r>
              <a:rPr lang="en-US" altLang="en-US" sz="2800" dirty="0" smtClean="0"/>
              <a:t>pattern</a:t>
            </a:r>
            <a:endParaRPr lang="en-US" altLang="en-US" sz="2800" dirty="0" smtClean="0"/>
          </a:p>
          <a:p>
            <a:pPr lvl="1" eaLnBrk="1" hangingPunct="1"/>
            <a:r>
              <a:rPr lang="en-US" altLang="en-US" sz="2400" dirty="0" smtClean="0"/>
              <a:t>Implement a registry that holds references of observers (Views and Controllers)</a:t>
            </a:r>
          </a:p>
          <a:p>
            <a:pPr lvl="1" eaLnBrk="1" hangingPunct="1"/>
            <a:r>
              <a:rPr lang="en-US" altLang="en-US" sz="2400" dirty="0" smtClean="0"/>
              <a:t>Provide APIs for an observer to subscribe and unsubscribe</a:t>
            </a:r>
          </a:p>
          <a:p>
            <a:pPr lvl="1" eaLnBrk="1" hangingPunct="1"/>
            <a:r>
              <a:rPr lang="en-US" altLang="en-US" sz="2400" dirty="0" smtClean="0"/>
              <a:t>Implement notify() which will be called every time the (other) parts of the system change the model’s state (and data)</a:t>
            </a:r>
          </a:p>
          <a:p>
            <a:pPr lvl="2" eaLnBrk="1" hangingPunct="1"/>
            <a:r>
              <a:rPr lang="en-US" altLang="en-US" sz="2000" dirty="0" smtClean="0"/>
              <a:t>In turn calls update() of each observer (a view or a controller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51AA15-4329-4350-B0FB-BB9311B07E2A}" type="datetime1">
              <a:rPr lang="en-US" smtClean="0"/>
              <a:t>3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610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71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73</TotalTime>
  <Words>1943</Words>
  <Application>Microsoft Office PowerPoint</Application>
  <PresentationFormat>On-screen Show (4:3)</PresentationFormat>
  <Paragraphs>405</Paragraphs>
  <Slides>35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7" baseType="lpstr">
      <vt:lpstr>Office Theme</vt:lpstr>
      <vt:lpstr>think-cell Slide</vt:lpstr>
      <vt:lpstr>SS ZG653: Software Architecture Lecture 12: Interactive and Adaptable Systems</vt:lpstr>
      <vt:lpstr>Model View Controller Pattern</vt:lpstr>
      <vt:lpstr>Model-View-Controller</vt:lpstr>
      <vt:lpstr>MVC Dynamics- User Event</vt:lpstr>
      <vt:lpstr>MVC Initialization</vt:lpstr>
      <vt:lpstr>Other Dynamic Scenarios</vt:lpstr>
      <vt:lpstr>Implementation</vt:lpstr>
      <vt:lpstr>Initial Part</vt:lpstr>
      <vt:lpstr>3: Design the Model</vt:lpstr>
      <vt:lpstr>4: Design and Implement Views</vt:lpstr>
      <vt:lpstr>5: Design and Implement Controllers</vt:lpstr>
      <vt:lpstr>Variants</vt:lpstr>
      <vt:lpstr>Benefits</vt:lpstr>
      <vt:lpstr>Liabilities</vt:lpstr>
      <vt:lpstr>microkernel</vt:lpstr>
      <vt:lpstr>Microkernel – 3 part schema</vt:lpstr>
      <vt:lpstr>Microkernel</vt:lpstr>
      <vt:lpstr>Microkernel</vt:lpstr>
      <vt:lpstr>Participating Components</vt:lpstr>
      <vt:lpstr>Microkernel</vt:lpstr>
      <vt:lpstr>Server</vt:lpstr>
      <vt:lpstr>Client</vt:lpstr>
      <vt:lpstr>Client Request</vt:lpstr>
      <vt:lpstr>External Server Request</vt:lpstr>
      <vt:lpstr>Implementation</vt:lpstr>
      <vt:lpstr>Client Requirement</vt:lpstr>
      <vt:lpstr>Category of Core Services</vt:lpstr>
      <vt:lpstr>Core Service Design</vt:lpstr>
      <vt:lpstr>Microkernel</vt:lpstr>
      <vt:lpstr>Resource Management</vt:lpstr>
      <vt:lpstr>Client Access</vt:lpstr>
      <vt:lpstr>Variants</vt:lpstr>
      <vt:lpstr>Relationship with Other Patterns</vt:lpstr>
      <vt:lpstr>Pros and Cons</vt:lpstr>
      <vt:lpstr>Known Us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1130</cp:revision>
  <dcterms:created xsi:type="dcterms:W3CDTF">2012-07-04T06:43:36Z</dcterms:created>
  <dcterms:modified xsi:type="dcterms:W3CDTF">2015-03-03T11:58:12Z</dcterms:modified>
</cp:coreProperties>
</file>